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docx" ContentType="application/vnd.openxmlformats-officedocument.wordprocessingml.document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5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6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7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8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9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10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11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12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13.xml" ContentType="application/vnd.openxmlformats-officedocument.presentationml.notesSlid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14.xml" ContentType="application/vnd.openxmlformats-officedocument.presentationml.notesSl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notesSlides/notesSlide15.xml" ContentType="application/vnd.openxmlformats-officedocument.presentationml.notesSlid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16.xml" ContentType="application/vnd.openxmlformats-officedocument.presentationml.notesSlid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4" r:id="rId1"/>
  </p:sldMasterIdLst>
  <p:notesMasterIdLst>
    <p:notesMasterId r:id="rId28"/>
  </p:notesMasterIdLst>
  <p:handoutMasterIdLst>
    <p:handoutMasterId r:id="rId29"/>
  </p:handoutMasterIdLst>
  <p:sldIdLst>
    <p:sldId id="314" r:id="rId2"/>
    <p:sldId id="375" r:id="rId3"/>
    <p:sldId id="328" r:id="rId4"/>
    <p:sldId id="346" r:id="rId5"/>
    <p:sldId id="347" r:id="rId6"/>
    <p:sldId id="349" r:id="rId7"/>
    <p:sldId id="350" r:id="rId8"/>
    <p:sldId id="351" r:id="rId9"/>
    <p:sldId id="357" r:id="rId10"/>
    <p:sldId id="358" r:id="rId11"/>
    <p:sldId id="359" r:id="rId12"/>
    <p:sldId id="355" r:id="rId13"/>
    <p:sldId id="360" r:id="rId14"/>
    <p:sldId id="362" r:id="rId15"/>
    <p:sldId id="370" r:id="rId16"/>
    <p:sldId id="371" r:id="rId17"/>
    <p:sldId id="376" r:id="rId18"/>
    <p:sldId id="377" r:id="rId19"/>
    <p:sldId id="378" r:id="rId20"/>
    <p:sldId id="379" r:id="rId21"/>
    <p:sldId id="380" r:id="rId22"/>
    <p:sldId id="381" r:id="rId23"/>
    <p:sldId id="382" r:id="rId24"/>
    <p:sldId id="383" r:id="rId25"/>
    <p:sldId id="384" r:id="rId26"/>
    <p:sldId id="323" r:id="rId27"/>
  </p:sldIdLst>
  <p:sldSz cx="9144000" cy="6858000" type="screen4x3"/>
  <p:notesSz cx="10020300" cy="6888163"/>
  <p:custDataLst>
    <p:tags r:id="rId30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242"/>
    <a:srgbClr val="FF5050"/>
    <a:srgbClr val="FF6600"/>
    <a:srgbClr val="990099"/>
    <a:srgbClr val="967FEB"/>
    <a:srgbClr val="9966FF"/>
    <a:srgbClr val="AA09BB"/>
    <a:srgbClr val="38D4A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2DE63D5-997A-4646-A377-4702673A728D}" styleName="Светлый стиль 2 -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8799B23B-EC83-4686-B30A-512413B5E67A}" styleName="Светлый стиль 3 -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06799F8-075E-4A3A-A7F6-7FBC6576F1A4}" styleName="Стиль из темы 2 - акцент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Стиль из темы 2 - акцент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699" autoAdjust="0"/>
    <p:restoredTop sz="92718" autoAdjust="0"/>
  </p:normalViewPr>
  <p:slideViewPr>
    <p:cSldViewPr>
      <p:cViewPr>
        <p:scale>
          <a:sx n="66" d="100"/>
          <a:sy n="66" d="100"/>
        </p:scale>
        <p:origin x="-2046" y="-66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54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41813" cy="344488"/>
          </a:xfrm>
          <a:prstGeom prst="rect">
            <a:avLst/>
          </a:prstGeom>
        </p:spPr>
        <p:txBody>
          <a:bodyPr vert="horz" lIns="96616" tIns="48308" rIns="96616" bIns="48308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5675313" y="0"/>
            <a:ext cx="4343400" cy="344488"/>
          </a:xfrm>
          <a:prstGeom prst="rect">
            <a:avLst/>
          </a:prstGeom>
        </p:spPr>
        <p:txBody>
          <a:bodyPr vert="horz" lIns="96616" tIns="48308" rIns="96616" bIns="48308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3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4DDC48A6-F9A0-40CA-BBB7-6B6E5945B566}" type="datetimeFigureOut">
              <a:rPr lang="ru-RU"/>
              <a:pPr>
                <a:defRPr/>
              </a:pPr>
              <a:t>13.12.201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6542088"/>
            <a:ext cx="4341813" cy="344487"/>
          </a:xfrm>
          <a:prstGeom prst="rect">
            <a:avLst/>
          </a:prstGeom>
        </p:spPr>
        <p:txBody>
          <a:bodyPr vert="horz" lIns="96616" tIns="48308" rIns="96616" bIns="48308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5675313" y="6542088"/>
            <a:ext cx="4343400" cy="344487"/>
          </a:xfrm>
          <a:prstGeom prst="rect">
            <a:avLst/>
          </a:prstGeom>
        </p:spPr>
        <p:txBody>
          <a:bodyPr vert="horz" lIns="96616" tIns="48308" rIns="96616" bIns="48308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3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0F21C965-C9A6-4AD0-A5A3-6D59DAA44E2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309299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41813" cy="344488"/>
          </a:xfrm>
          <a:prstGeom prst="rect">
            <a:avLst/>
          </a:prstGeom>
        </p:spPr>
        <p:txBody>
          <a:bodyPr vert="horz" lIns="96616" tIns="48308" rIns="96616" bIns="48308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uk-UA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75313" y="0"/>
            <a:ext cx="4343400" cy="344488"/>
          </a:xfrm>
          <a:prstGeom prst="rect">
            <a:avLst/>
          </a:prstGeom>
        </p:spPr>
        <p:txBody>
          <a:bodyPr vert="horz" lIns="96616" tIns="48308" rIns="96616" bIns="48308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3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D1808698-67A8-457D-9F44-49B278B42452}" type="datetimeFigureOut">
              <a:rPr lang="uk-UA"/>
              <a:pPr>
                <a:defRPr/>
              </a:pPr>
              <a:t>13.12.2016</a:t>
            </a:fld>
            <a:endParaRPr lang="uk-UA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287713" y="515938"/>
            <a:ext cx="3446462" cy="2584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16" tIns="48308" rIns="96616" bIns="48308" rtlCol="0" anchor="ctr"/>
          <a:lstStyle/>
          <a:p>
            <a:pPr lvl="0"/>
            <a:endParaRPr lang="uk-UA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1001713" y="3271838"/>
            <a:ext cx="8016875" cy="3100387"/>
          </a:xfrm>
          <a:prstGeom prst="rect">
            <a:avLst/>
          </a:prstGeom>
        </p:spPr>
        <p:txBody>
          <a:bodyPr vert="horz" lIns="96616" tIns="48308" rIns="96616" bIns="48308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uk-UA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6542088"/>
            <a:ext cx="4341813" cy="344487"/>
          </a:xfrm>
          <a:prstGeom prst="rect">
            <a:avLst/>
          </a:prstGeom>
        </p:spPr>
        <p:txBody>
          <a:bodyPr vert="horz" lIns="96616" tIns="48308" rIns="96616" bIns="48308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uk-UA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75313" y="6542088"/>
            <a:ext cx="4343400" cy="344487"/>
          </a:xfrm>
          <a:prstGeom prst="rect">
            <a:avLst/>
          </a:prstGeom>
        </p:spPr>
        <p:txBody>
          <a:bodyPr vert="horz" lIns="96616" tIns="48308" rIns="96616" bIns="48308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3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B2417FE8-AA91-458C-B670-FFBA4F6BE493}" type="slidenum">
              <a:rPr lang="uk-UA"/>
              <a:pPr>
                <a:defRPr/>
              </a:pPr>
              <a:t>‹#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94758969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969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ru-RU" altLang="ru-RU" smtClean="0"/>
              <a:t>З самого початку реформування галузі охорони здоров’я Кривий Ріг активно залучився до цієї роботи. </a:t>
            </a:r>
          </a:p>
        </p:txBody>
      </p:sp>
      <p:sp>
        <p:nvSpPr>
          <p:cNvPr id="2970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58C02438-64CD-4527-BC3E-E4C14273EE17}" type="slidenum">
              <a:rPr lang="uk-UA" altLang="ru-RU"/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uk-UA" altLang="ru-RU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38916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5DF80008-9258-4380-805B-1AF51B5C292D}" type="slidenum">
              <a:rPr lang="uk-UA" altLang="ru-RU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8</a:t>
            </a:fld>
            <a:endParaRPr lang="uk-UA" altLang="ru-RU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993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3994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38F547BA-D9F1-4D3D-BCBE-9697B260CDE7}" type="slidenum">
              <a:rPr lang="uk-UA" altLang="ru-RU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9</a:t>
            </a:fld>
            <a:endParaRPr lang="uk-UA" altLang="ru-RU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6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4096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F4A0EC1F-1F23-4FDC-AA62-04D572414D3C}" type="slidenum">
              <a:rPr lang="uk-UA" altLang="ru-RU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lang="uk-UA" altLang="ru-RU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98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4198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4A2256A-71E5-4E2F-87F0-1D177A692D8B}" type="slidenum">
              <a:rPr lang="uk-UA" altLang="ru-RU"/>
              <a:pPr fontAlgn="base">
                <a:spcBef>
                  <a:spcPct val="0"/>
                </a:spcBef>
                <a:spcAft>
                  <a:spcPct val="0"/>
                </a:spcAft>
              </a:pPr>
              <a:t>21</a:t>
            </a:fld>
            <a:endParaRPr lang="uk-UA" altLang="ru-RU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301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43012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BEB6EC1-1860-4ED6-BBE1-C95FD136957A}" type="slidenum">
              <a:rPr lang="uk-UA" altLang="ru-RU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2</a:t>
            </a:fld>
            <a:endParaRPr lang="uk-UA" altLang="ru-RU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403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44036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07AF5BE9-475C-47C6-996A-FDE99518833F}" type="slidenum">
              <a:rPr lang="uk-UA" altLang="ru-RU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3</a:t>
            </a:fld>
            <a:endParaRPr lang="uk-UA" altLang="ru-RU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505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4506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CBA3BE2-7756-4644-A409-FE9F3B215B59}" type="slidenum">
              <a:rPr lang="uk-UA" altLang="ru-RU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4</a:t>
            </a:fld>
            <a:endParaRPr lang="uk-UA" altLang="ru-RU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608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4608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7C9BA3BF-CFEC-4A35-9494-322416A3490D}" type="slidenum">
              <a:rPr lang="uk-UA" altLang="ru-RU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5</a:t>
            </a:fld>
            <a:endParaRPr lang="uk-UA" altLang="ru-RU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710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4710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1AEFCFA-A163-4522-A014-480ABF066F2F}" type="slidenum">
              <a:rPr lang="uk-UA" altLang="ru-RU"/>
              <a:pPr fontAlgn="base">
                <a:spcBef>
                  <a:spcPct val="0"/>
                </a:spcBef>
                <a:spcAft>
                  <a:spcPct val="0"/>
                </a:spcAft>
              </a:pPr>
              <a:t>26</a:t>
            </a:fld>
            <a:endParaRPr lang="uk-UA" alt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289300" y="515938"/>
            <a:ext cx="3443288" cy="258445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3072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E6E082EA-8F9B-4707-AE49-C69BDD799D3E}" type="slidenum">
              <a:rPr lang="uk-UA" altLang="ru-RU"/>
              <a:pPr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uk-UA" alt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174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3174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CF9E0E3-72B9-4F5B-A8C5-FC03F4EC7A04}" type="slidenum">
              <a:rPr lang="uk-UA" altLang="ru-RU"/>
              <a:pPr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uk-UA" altLang="ru-RU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289300" y="515938"/>
            <a:ext cx="3443288" cy="258445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32772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64435A0-ED26-481B-AE78-0001F5085B68}" type="slidenum">
              <a:rPr lang="uk-UA" altLang="ru-RU"/>
              <a:pPr fontAlgn="base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uk-UA" altLang="ru-RU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289300" y="515938"/>
            <a:ext cx="3443288" cy="258445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379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33796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FCD756C-6A10-4253-A7F4-84A210D2F71E}" type="slidenum">
              <a:rPr lang="uk-UA" altLang="ru-RU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uk-UA" altLang="ru-RU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481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3482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D599B19-D74D-448D-8ED2-96E7774BEA13}" type="slidenum">
              <a:rPr lang="uk-UA" altLang="ru-RU"/>
              <a:pPr fontAlgn="base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uk-UA" altLang="ru-RU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584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3584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ADDB406-A43D-48B0-A253-69750D7E3813}" type="slidenum">
              <a:rPr lang="uk-UA" altLang="ru-RU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uk-UA" altLang="ru-RU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36868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01ED1FB-76EE-458E-BD23-784758E024E7}" type="slidenum">
              <a:rPr lang="uk-UA" altLang="ru-RU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6</a:t>
            </a:fld>
            <a:endParaRPr lang="uk-UA" altLang="ru-RU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789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37892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D1A47D18-4889-4735-A6AB-80E778CA909A}" type="slidenum">
              <a:rPr lang="uk-UA" altLang="ru-RU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lang="uk-UA" altLang="ru-RU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0728B1-0BFA-4F25-895C-C4DD83D2898A}" type="datetimeFigureOut">
              <a:rPr lang="ru-RU"/>
              <a:pPr>
                <a:defRPr/>
              </a:pPr>
              <a:t>13.12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4518E7-62AF-4BFB-9392-FD3FC933874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9779696"/>
      </p:ext>
    </p:extLst>
  </p:cSld>
  <p:clrMapOvr>
    <a:masterClrMapping/>
  </p:clrMapOvr>
  <p:transition spd="slow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1B7B15-742E-4C29-A92F-1CDF6622C0C0}" type="datetimeFigureOut">
              <a:rPr lang="ru-RU"/>
              <a:pPr>
                <a:defRPr/>
              </a:pPr>
              <a:t>13.12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831869-1384-45BD-BAD2-EAE822B48BC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51101527"/>
      </p:ext>
    </p:extLst>
  </p:cSld>
  <p:clrMapOvr>
    <a:masterClrMapping/>
  </p:clrMapOvr>
  <p:transition spd="slow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F074B8-77F4-4BDF-977E-11A6F6A7401B}" type="datetimeFigureOut">
              <a:rPr lang="ru-RU"/>
              <a:pPr>
                <a:defRPr/>
              </a:pPr>
              <a:t>13.12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AFDA3C-DCB9-4E80-8D6E-CBC60F5AE6E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42685623"/>
      </p:ext>
    </p:extLst>
  </p:cSld>
  <p:clrMapOvr>
    <a:masterClrMapping/>
  </p:clrMapOvr>
  <p:transition spd="slow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10032E-6CF2-418B-894C-7DC3096C3CFD}" type="datetimeFigureOut">
              <a:rPr lang="ru-RU"/>
              <a:pPr>
                <a:defRPr/>
              </a:pPr>
              <a:t>13.12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53D56B-FC8B-4FF5-B0D8-F34882357BA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97523964"/>
      </p:ext>
    </p:extLst>
  </p:cSld>
  <p:clrMapOvr>
    <a:masterClrMapping/>
  </p:clrMapOvr>
  <p:transition spd="slow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4E3735-B794-4A7D-9ADB-7BF86B205F79}" type="datetimeFigureOut">
              <a:rPr lang="ru-RU"/>
              <a:pPr>
                <a:defRPr/>
              </a:pPr>
              <a:t>13.12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F5EEDD-906F-4306-8EDB-FCB6126708B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75392132"/>
      </p:ext>
    </p:extLst>
  </p:cSld>
  <p:clrMapOvr>
    <a:masterClrMapping/>
  </p:clrMapOvr>
  <p:transition spd="slow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7530DA-790C-4294-BB7D-3B233BA941D0}" type="datetimeFigureOut">
              <a:rPr lang="ru-RU"/>
              <a:pPr>
                <a:defRPr/>
              </a:pPr>
              <a:t>13.12.2016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3D2C44-5774-433C-89BE-56A5494EA32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84279053"/>
      </p:ext>
    </p:extLst>
  </p:cSld>
  <p:clrMapOvr>
    <a:masterClrMapping/>
  </p:clrMapOvr>
  <p:transition spd="slow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D9B632-9F36-4750-B3FB-16A9AEB82132}" type="datetimeFigureOut">
              <a:rPr lang="ru-RU"/>
              <a:pPr>
                <a:defRPr/>
              </a:pPr>
              <a:t>13.12.2016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38D819-FDD2-41A1-A41A-F5540875C66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09512744"/>
      </p:ext>
    </p:extLst>
  </p:cSld>
  <p:clrMapOvr>
    <a:masterClrMapping/>
  </p:clrMapOvr>
  <p:transition spd="slow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3EAF2D-D519-4AAB-935B-50920CE75194}" type="datetimeFigureOut">
              <a:rPr lang="ru-RU"/>
              <a:pPr>
                <a:defRPr/>
              </a:pPr>
              <a:t>13.12.2016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C480B15-9B9D-4D11-9DF4-43A3D71733A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6906912"/>
      </p:ext>
    </p:extLst>
  </p:cSld>
  <p:clrMapOvr>
    <a:masterClrMapping/>
  </p:clrMapOvr>
  <p:transition spd="slow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2E2079-9927-4110-B9F9-98E00EBFC04B}" type="datetimeFigureOut">
              <a:rPr lang="ru-RU"/>
              <a:pPr>
                <a:defRPr/>
              </a:pPr>
              <a:t>13.12.2016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49E577-5D53-48ED-ABF5-F6903937D35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16235608"/>
      </p:ext>
    </p:extLst>
  </p:cSld>
  <p:clrMapOvr>
    <a:masterClrMapping/>
  </p:clrMapOvr>
  <p:transition spd="slow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CEC98B-AB67-44A3-B019-904DC2AAD474}" type="datetimeFigureOut">
              <a:rPr lang="ru-RU"/>
              <a:pPr>
                <a:defRPr/>
              </a:pPr>
              <a:t>13.12.2016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4D64BC-D2EB-445B-BA08-73FEE6F108B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97745187"/>
      </p:ext>
    </p:extLst>
  </p:cSld>
  <p:clrMapOvr>
    <a:masterClrMapping/>
  </p:clrMapOvr>
  <p:transition spd="slow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4268181-29A5-4F1A-AF19-C83DE95292F3}" type="datetimeFigureOut">
              <a:rPr lang="ru-RU"/>
              <a:pPr>
                <a:defRPr/>
              </a:pPr>
              <a:t>13.12.2016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05E5A9-2345-48F5-B599-EF4C680FB55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4529098"/>
      </p:ext>
    </p:extLst>
  </p:cSld>
  <p:clrMapOvr>
    <a:masterClrMapping/>
  </p:clrMapOvr>
  <p:transition spd="slow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ADDC43FD-149E-4FF6-ADF7-E68CA260FC63}" type="datetimeFigureOut">
              <a:rPr lang="ru-RU"/>
              <a:pPr>
                <a:defRPr/>
              </a:pPr>
              <a:t>13.12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2A1DD214-FACD-4CC6-91A5-19C72A09B8C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</p:sldLayoutIdLst>
  <p:transition spd="slow"/>
  <p:timing>
    <p:tnLst>
      <p:par>
        <p:cTn id="1" dur="indefinite" restart="never" nodeType="tmRoot"/>
      </p:par>
    </p:tnLst>
  </p:timing>
  <p:txStyles>
    <p:titleStyle>
      <a:lvl1pPr algn="ctr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7" Type="http://schemas.openxmlformats.org/officeDocument/2006/relationships/image" Target="../media/image10.emf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8.vml"/><Relationship Id="rId6" Type="http://schemas.openxmlformats.org/officeDocument/2006/relationships/package" Target="../embeddings/Microsoft_Word_Document5.docx"/><Relationship Id="rId5" Type="http://schemas.openxmlformats.org/officeDocument/2006/relationships/oleObject" Target="../embeddings/oleObject8.bin"/><Relationship Id="rId4" Type="http://schemas.openxmlformats.org/officeDocument/2006/relationships/image" Target="../media/image16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7" Type="http://schemas.openxmlformats.org/officeDocument/2006/relationships/image" Target="../media/image10.emf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9.vml"/><Relationship Id="rId6" Type="http://schemas.openxmlformats.org/officeDocument/2006/relationships/package" Target="../embeddings/Microsoft_Word_Document6.docx"/><Relationship Id="rId5" Type="http://schemas.openxmlformats.org/officeDocument/2006/relationships/oleObject" Target="../embeddings/oleObject9.bin"/><Relationship Id="rId4" Type="http://schemas.openxmlformats.org/officeDocument/2006/relationships/image" Target="../media/image18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8.emf"/><Relationship Id="rId5" Type="http://schemas.openxmlformats.org/officeDocument/2006/relationships/package" Target="../embeddings/Microsoft_Word_Document7.docx"/><Relationship Id="rId4" Type="http://schemas.openxmlformats.org/officeDocument/2006/relationships/oleObject" Target="../embeddings/oleObject10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6.xml"/><Relationship Id="rId3" Type="http://schemas.openxmlformats.org/officeDocument/2006/relationships/tags" Target="../tags/tag19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6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1.vml"/><Relationship Id="rId6" Type="http://schemas.openxmlformats.org/officeDocument/2006/relationships/tags" Target="../tags/tag22.xml"/><Relationship Id="rId11" Type="http://schemas.openxmlformats.org/officeDocument/2006/relationships/image" Target="../media/image1.jpeg"/><Relationship Id="rId5" Type="http://schemas.openxmlformats.org/officeDocument/2006/relationships/tags" Target="../tags/tag21.xml"/><Relationship Id="rId10" Type="http://schemas.openxmlformats.org/officeDocument/2006/relationships/image" Target="../media/image5.emf"/><Relationship Id="rId4" Type="http://schemas.openxmlformats.org/officeDocument/2006/relationships/tags" Target="../tags/tag20.xml"/><Relationship Id="rId9" Type="http://schemas.openxmlformats.org/officeDocument/2006/relationships/oleObject" Target="../embeddings/oleObject11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7.xml"/><Relationship Id="rId3" Type="http://schemas.openxmlformats.org/officeDocument/2006/relationships/tags" Target="../tags/tag24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6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tags" Target="../tags/tag27.xml"/><Relationship Id="rId11" Type="http://schemas.openxmlformats.org/officeDocument/2006/relationships/image" Target="../media/image1.jpeg"/><Relationship Id="rId5" Type="http://schemas.openxmlformats.org/officeDocument/2006/relationships/tags" Target="../tags/tag26.xml"/><Relationship Id="rId10" Type="http://schemas.openxmlformats.org/officeDocument/2006/relationships/image" Target="../media/image5.emf"/><Relationship Id="rId4" Type="http://schemas.openxmlformats.org/officeDocument/2006/relationships/tags" Target="../tags/tag25.xml"/><Relationship Id="rId9" Type="http://schemas.openxmlformats.org/officeDocument/2006/relationships/oleObject" Target="../embeddings/oleObject12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8.xml"/><Relationship Id="rId3" Type="http://schemas.openxmlformats.org/officeDocument/2006/relationships/tags" Target="../tags/tag29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6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3.vml"/><Relationship Id="rId6" Type="http://schemas.openxmlformats.org/officeDocument/2006/relationships/tags" Target="../tags/tag32.xml"/><Relationship Id="rId11" Type="http://schemas.openxmlformats.org/officeDocument/2006/relationships/image" Target="../media/image1.jpeg"/><Relationship Id="rId5" Type="http://schemas.openxmlformats.org/officeDocument/2006/relationships/tags" Target="../tags/tag31.xml"/><Relationship Id="rId10" Type="http://schemas.openxmlformats.org/officeDocument/2006/relationships/image" Target="../media/image5.emf"/><Relationship Id="rId4" Type="http://schemas.openxmlformats.org/officeDocument/2006/relationships/tags" Target="../tags/tag30.xml"/><Relationship Id="rId9" Type="http://schemas.openxmlformats.org/officeDocument/2006/relationships/oleObject" Target="../embeddings/oleObject13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9.xml"/><Relationship Id="rId3" Type="http://schemas.openxmlformats.org/officeDocument/2006/relationships/tags" Target="../tags/tag34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6.png"/><Relationship Id="rId2" Type="http://schemas.openxmlformats.org/officeDocument/2006/relationships/tags" Target="../tags/tag33.xml"/><Relationship Id="rId1" Type="http://schemas.openxmlformats.org/officeDocument/2006/relationships/vmlDrawing" Target="../drawings/vmlDrawing14.vml"/><Relationship Id="rId6" Type="http://schemas.openxmlformats.org/officeDocument/2006/relationships/tags" Target="../tags/tag37.xml"/><Relationship Id="rId11" Type="http://schemas.openxmlformats.org/officeDocument/2006/relationships/image" Target="../media/image1.jpeg"/><Relationship Id="rId5" Type="http://schemas.openxmlformats.org/officeDocument/2006/relationships/tags" Target="../tags/tag36.xml"/><Relationship Id="rId10" Type="http://schemas.openxmlformats.org/officeDocument/2006/relationships/image" Target="../media/image5.emf"/><Relationship Id="rId4" Type="http://schemas.openxmlformats.org/officeDocument/2006/relationships/tags" Target="../tags/tag35.xml"/><Relationship Id="rId9" Type="http://schemas.openxmlformats.org/officeDocument/2006/relationships/oleObject" Target="../embeddings/oleObject14.bin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0.xml"/><Relationship Id="rId3" Type="http://schemas.openxmlformats.org/officeDocument/2006/relationships/tags" Target="../tags/tag39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6.png"/><Relationship Id="rId2" Type="http://schemas.openxmlformats.org/officeDocument/2006/relationships/tags" Target="../tags/tag38.xml"/><Relationship Id="rId1" Type="http://schemas.openxmlformats.org/officeDocument/2006/relationships/vmlDrawing" Target="../drawings/vmlDrawing15.vml"/><Relationship Id="rId6" Type="http://schemas.openxmlformats.org/officeDocument/2006/relationships/tags" Target="../tags/tag42.xml"/><Relationship Id="rId11" Type="http://schemas.openxmlformats.org/officeDocument/2006/relationships/image" Target="../media/image1.jpeg"/><Relationship Id="rId5" Type="http://schemas.openxmlformats.org/officeDocument/2006/relationships/tags" Target="../tags/tag41.xml"/><Relationship Id="rId10" Type="http://schemas.openxmlformats.org/officeDocument/2006/relationships/image" Target="../media/image5.emf"/><Relationship Id="rId4" Type="http://schemas.openxmlformats.org/officeDocument/2006/relationships/tags" Target="../tags/tag40.xml"/><Relationship Id="rId9" Type="http://schemas.openxmlformats.org/officeDocument/2006/relationships/oleObject" Target="../embeddings/oleObject15.bin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1.xml"/><Relationship Id="rId3" Type="http://schemas.openxmlformats.org/officeDocument/2006/relationships/tags" Target="../tags/tag44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6.png"/><Relationship Id="rId2" Type="http://schemas.openxmlformats.org/officeDocument/2006/relationships/tags" Target="../tags/tag43.xml"/><Relationship Id="rId1" Type="http://schemas.openxmlformats.org/officeDocument/2006/relationships/vmlDrawing" Target="../drawings/vmlDrawing16.vml"/><Relationship Id="rId6" Type="http://schemas.openxmlformats.org/officeDocument/2006/relationships/tags" Target="../tags/tag47.xml"/><Relationship Id="rId11" Type="http://schemas.openxmlformats.org/officeDocument/2006/relationships/image" Target="../media/image1.jpeg"/><Relationship Id="rId5" Type="http://schemas.openxmlformats.org/officeDocument/2006/relationships/tags" Target="../tags/tag46.xml"/><Relationship Id="rId10" Type="http://schemas.openxmlformats.org/officeDocument/2006/relationships/image" Target="../media/image5.emf"/><Relationship Id="rId4" Type="http://schemas.openxmlformats.org/officeDocument/2006/relationships/tags" Target="../tags/tag45.xml"/><Relationship Id="rId9" Type="http://schemas.openxmlformats.org/officeDocument/2006/relationships/oleObject" Target="../embeddings/oleObject16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6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image" Target="../media/image1.jpeg"/><Relationship Id="rId5" Type="http://schemas.openxmlformats.org/officeDocument/2006/relationships/tags" Target="../tags/tag5.xml"/><Relationship Id="rId10" Type="http://schemas.openxmlformats.org/officeDocument/2006/relationships/image" Target="../media/image5.emf"/><Relationship Id="rId4" Type="http://schemas.openxmlformats.org/officeDocument/2006/relationships/tags" Target="../tags/tag4.xml"/><Relationship Id="rId9" Type="http://schemas.openxmlformats.org/officeDocument/2006/relationships/oleObject" Target="../embeddings/oleObject1.bin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2.xml"/><Relationship Id="rId3" Type="http://schemas.openxmlformats.org/officeDocument/2006/relationships/tags" Target="../tags/tag49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6.png"/><Relationship Id="rId2" Type="http://schemas.openxmlformats.org/officeDocument/2006/relationships/tags" Target="../tags/tag48.xml"/><Relationship Id="rId1" Type="http://schemas.openxmlformats.org/officeDocument/2006/relationships/vmlDrawing" Target="../drawings/vmlDrawing17.vml"/><Relationship Id="rId6" Type="http://schemas.openxmlformats.org/officeDocument/2006/relationships/tags" Target="../tags/tag52.xml"/><Relationship Id="rId11" Type="http://schemas.openxmlformats.org/officeDocument/2006/relationships/image" Target="../media/image1.jpeg"/><Relationship Id="rId5" Type="http://schemas.openxmlformats.org/officeDocument/2006/relationships/tags" Target="../tags/tag51.xml"/><Relationship Id="rId10" Type="http://schemas.openxmlformats.org/officeDocument/2006/relationships/image" Target="../media/image5.emf"/><Relationship Id="rId4" Type="http://schemas.openxmlformats.org/officeDocument/2006/relationships/tags" Target="../tags/tag50.xml"/><Relationship Id="rId9" Type="http://schemas.openxmlformats.org/officeDocument/2006/relationships/oleObject" Target="../embeddings/oleObject17.bin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3.xml"/><Relationship Id="rId13" Type="http://schemas.openxmlformats.org/officeDocument/2006/relationships/image" Target="../media/image22.jpeg"/><Relationship Id="rId3" Type="http://schemas.openxmlformats.org/officeDocument/2006/relationships/tags" Target="../tags/tag54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6.png"/><Relationship Id="rId2" Type="http://schemas.openxmlformats.org/officeDocument/2006/relationships/tags" Target="../tags/tag53.xml"/><Relationship Id="rId1" Type="http://schemas.openxmlformats.org/officeDocument/2006/relationships/vmlDrawing" Target="../drawings/vmlDrawing18.vml"/><Relationship Id="rId6" Type="http://schemas.openxmlformats.org/officeDocument/2006/relationships/tags" Target="../tags/tag57.xml"/><Relationship Id="rId11" Type="http://schemas.openxmlformats.org/officeDocument/2006/relationships/image" Target="../media/image1.jpeg"/><Relationship Id="rId5" Type="http://schemas.openxmlformats.org/officeDocument/2006/relationships/tags" Target="../tags/tag56.xml"/><Relationship Id="rId10" Type="http://schemas.openxmlformats.org/officeDocument/2006/relationships/image" Target="../media/image5.emf"/><Relationship Id="rId4" Type="http://schemas.openxmlformats.org/officeDocument/2006/relationships/tags" Target="../tags/tag55.xml"/><Relationship Id="rId9" Type="http://schemas.openxmlformats.org/officeDocument/2006/relationships/oleObject" Target="../embeddings/oleObject18.bin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4.xml"/><Relationship Id="rId3" Type="http://schemas.openxmlformats.org/officeDocument/2006/relationships/tags" Target="../tags/tag59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6.png"/><Relationship Id="rId2" Type="http://schemas.openxmlformats.org/officeDocument/2006/relationships/tags" Target="../tags/tag58.xml"/><Relationship Id="rId1" Type="http://schemas.openxmlformats.org/officeDocument/2006/relationships/vmlDrawing" Target="../drawings/vmlDrawing19.vml"/><Relationship Id="rId6" Type="http://schemas.openxmlformats.org/officeDocument/2006/relationships/tags" Target="../tags/tag62.xml"/><Relationship Id="rId11" Type="http://schemas.openxmlformats.org/officeDocument/2006/relationships/image" Target="../media/image1.jpeg"/><Relationship Id="rId5" Type="http://schemas.openxmlformats.org/officeDocument/2006/relationships/tags" Target="../tags/tag61.xml"/><Relationship Id="rId10" Type="http://schemas.openxmlformats.org/officeDocument/2006/relationships/image" Target="../media/image5.emf"/><Relationship Id="rId4" Type="http://schemas.openxmlformats.org/officeDocument/2006/relationships/tags" Target="../tags/tag60.xml"/><Relationship Id="rId9" Type="http://schemas.openxmlformats.org/officeDocument/2006/relationships/oleObject" Target="../embeddings/oleObject19.bin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5.xml"/><Relationship Id="rId3" Type="http://schemas.openxmlformats.org/officeDocument/2006/relationships/tags" Target="../tags/tag64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6.png"/><Relationship Id="rId2" Type="http://schemas.openxmlformats.org/officeDocument/2006/relationships/tags" Target="../tags/tag63.xml"/><Relationship Id="rId1" Type="http://schemas.openxmlformats.org/officeDocument/2006/relationships/vmlDrawing" Target="../drawings/vmlDrawing20.vml"/><Relationship Id="rId6" Type="http://schemas.openxmlformats.org/officeDocument/2006/relationships/tags" Target="../tags/tag67.xml"/><Relationship Id="rId11" Type="http://schemas.openxmlformats.org/officeDocument/2006/relationships/image" Target="../media/image1.jpeg"/><Relationship Id="rId5" Type="http://schemas.openxmlformats.org/officeDocument/2006/relationships/tags" Target="../tags/tag66.xml"/><Relationship Id="rId10" Type="http://schemas.openxmlformats.org/officeDocument/2006/relationships/image" Target="../media/image5.emf"/><Relationship Id="rId4" Type="http://schemas.openxmlformats.org/officeDocument/2006/relationships/tags" Target="../tags/tag65.xml"/><Relationship Id="rId9" Type="http://schemas.openxmlformats.org/officeDocument/2006/relationships/oleObject" Target="../embeddings/oleObject20.bin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6.xml"/><Relationship Id="rId3" Type="http://schemas.openxmlformats.org/officeDocument/2006/relationships/tags" Target="../tags/tag69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6.png"/><Relationship Id="rId2" Type="http://schemas.openxmlformats.org/officeDocument/2006/relationships/tags" Target="../tags/tag68.xml"/><Relationship Id="rId1" Type="http://schemas.openxmlformats.org/officeDocument/2006/relationships/vmlDrawing" Target="../drawings/vmlDrawing21.vml"/><Relationship Id="rId6" Type="http://schemas.openxmlformats.org/officeDocument/2006/relationships/tags" Target="../tags/tag72.xml"/><Relationship Id="rId11" Type="http://schemas.openxmlformats.org/officeDocument/2006/relationships/image" Target="../media/image1.jpeg"/><Relationship Id="rId5" Type="http://schemas.openxmlformats.org/officeDocument/2006/relationships/tags" Target="../tags/tag71.xml"/><Relationship Id="rId10" Type="http://schemas.openxmlformats.org/officeDocument/2006/relationships/image" Target="../media/image5.emf"/><Relationship Id="rId4" Type="http://schemas.openxmlformats.org/officeDocument/2006/relationships/tags" Target="../tags/tag70.xml"/><Relationship Id="rId9" Type="http://schemas.openxmlformats.org/officeDocument/2006/relationships/oleObject" Target="../embeddings/oleObject21.bin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7.xml"/><Relationship Id="rId3" Type="http://schemas.openxmlformats.org/officeDocument/2006/relationships/tags" Target="../tags/tag74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6.png"/><Relationship Id="rId2" Type="http://schemas.openxmlformats.org/officeDocument/2006/relationships/tags" Target="../tags/tag73.xml"/><Relationship Id="rId1" Type="http://schemas.openxmlformats.org/officeDocument/2006/relationships/vmlDrawing" Target="../drawings/vmlDrawing22.vml"/><Relationship Id="rId6" Type="http://schemas.openxmlformats.org/officeDocument/2006/relationships/tags" Target="../tags/tag77.xml"/><Relationship Id="rId11" Type="http://schemas.openxmlformats.org/officeDocument/2006/relationships/image" Target="../media/image1.jpeg"/><Relationship Id="rId5" Type="http://schemas.openxmlformats.org/officeDocument/2006/relationships/tags" Target="../tags/tag76.xml"/><Relationship Id="rId10" Type="http://schemas.openxmlformats.org/officeDocument/2006/relationships/image" Target="../media/image5.emf"/><Relationship Id="rId4" Type="http://schemas.openxmlformats.org/officeDocument/2006/relationships/tags" Target="../tags/tag75.xml"/><Relationship Id="rId9" Type="http://schemas.openxmlformats.org/officeDocument/2006/relationships/oleObject" Target="../embeddings/oleObject22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4.png"/><Relationship Id="rId5" Type="http://schemas.openxmlformats.org/officeDocument/2006/relationships/image" Target="../media/image3.png"/><Relationship Id="rId4" Type="http://schemas.openxmlformats.org/officeDocument/2006/relationships/image" Target="../media/image2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4.xml"/><Relationship Id="rId3" Type="http://schemas.openxmlformats.org/officeDocument/2006/relationships/tags" Target="../tags/tag8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6.png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tags" Target="../tags/tag11.xml"/><Relationship Id="rId11" Type="http://schemas.openxmlformats.org/officeDocument/2006/relationships/image" Target="../media/image1.jpeg"/><Relationship Id="rId5" Type="http://schemas.openxmlformats.org/officeDocument/2006/relationships/tags" Target="../tags/tag10.xml"/><Relationship Id="rId10" Type="http://schemas.openxmlformats.org/officeDocument/2006/relationships/image" Target="../media/image5.emf"/><Relationship Id="rId4" Type="http://schemas.openxmlformats.org/officeDocument/2006/relationships/tags" Target="../tags/tag9.xml"/><Relationship Id="rId9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6.png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image" Target="../media/image1.jpeg"/><Relationship Id="rId2" Type="http://schemas.openxmlformats.org/officeDocument/2006/relationships/tags" Target="../tags/tag12.xml"/><Relationship Id="rId1" Type="http://schemas.openxmlformats.org/officeDocument/2006/relationships/vmlDrawing" Target="../drawings/vmlDrawing3.vml"/><Relationship Id="rId6" Type="http://schemas.openxmlformats.org/officeDocument/2006/relationships/tags" Target="../tags/tag16.xml"/><Relationship Id="rId11" Type="http://schemas.openxmlformats.org/officeDocument/2006/relationships/image" Target="../media/image5.emf"/><Relationship Id="rId5" Type="http://schemas.openxmlformats.org/officeDocument/2006/relationships/tags" Target="../tags/tag15.xml"/><Relationship Id="rId10" Type="http://schemas.openxmlformats.org/officeDocument/2006/relationships/oleObject" Target="../embeddings/oleObject3.bin"/><Relationship Id="rId4" Type="http://schemas.openxmlformats.org/officeDocument/2006/relationships/tags" Target="../tags/tag14.xml"/><Relationship Id="rId9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emf"/><Relationship Id="rId5" Type="http://schemas.openxmlformats.org/officeDocument/2006/relationships/package" Target="../embeddings/Microsoft_Word_Document1.docx"/><Relationship Id="rId4" Type="http://schemas.openxmlformats.org/officeDocument/2006/relationships/oleObject" Target="../embeddings/oleObject4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0.emf"/><Relationship Id="rId5" Type="http://schemas.openxmlformats.org/officeDocument/2006/relationships/package" Target="../embeddings/Microsoft_Word_Document2.docx"/><Relationship Id="rId4" Type="http://schemas.openxmlformats.org/officeDocument/2006/relationships/oleObject" Target="../embeddings/oleObject5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0.emf"/><Relationship Id="rId5" Type="http://schemas.openxmlformats.org/officeDocument/2006/relationships/package" Target="../embeddings/Microsoft_Word_Document3.docx"/><Relationship Id="rId4" Type="http://schemas.openxmlformats.org/officeDocument/2006/relationships/oleObject" Target="../embeddings/oleObject6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3.emf"/><Relationship Id="rId5" Type="http://schemas.openxmlformats.org/officeDocument/2006/relationships/package" Target="../embeddings/Microsoft_Word_Document4.docx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:\Users\Alisa-TML\Desktop\Доклад для мэра\Безымянный-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9688" y="0"/>
            <a:ext cx="918051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1" name="TextBox 4"/>
          <p:cNvSpPr txBox="1">
            <a:spLocks noChangeArrowheads="1"/>
          </p:cNvSpPr>
          <p:nvPr/>
        </p:nvSpPr>
        <p:spPr bwMode="auto">
          <a:xfrm>
            <a:off x="5076825" y="5221288"/>
            <a:ext cx="4103688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uk-UA" altLang="ru-RU" b="1">
                <a:latin typeface="Tahoma" pitchFamily="34" charset="0"/>
                <a:cs typeface="Tahoma" pitchFamily="34" charset="0"/>
              </a:rPr>
              <a:t>Мурашко К.В. – </a:t>
            </a:r>
            <a:r>
              <a:rPr lang="uk-UA" altLang="ru-RU">
                <a:latin typeface="Tahoma" pitchFamily="34" charset="0"/>
                <a:cs typeface="Tahoma" pitchFamily="34" charset="0"/>
              </a:rPr>
              <a:t>начальник управління охорони здоров'я виконкому Криворізької міськради 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392113" y="260350"/>
            <a:ext cx="8067675" cy="1800225"/>
          </a:xfrm>
          <a:prstGeom prst="rect">
            <a:avLst/>
          </a:prstGeom>
          <a:noFill/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uk-UA" altLang="ru-RU" sz="3200" b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Про</a:t>
            </a:r>
            <a:r>
              <a:rPr lang="en-US" altLang="ru-RU" sz="3200" b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uk-UA" altLang="ru-RU" sz="3200" b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досягнення та перспективи розвитку галузі охорони здоров'я у м. Кривому Розі</a:t>
            </a:r>
          </a:p>
        </p:txBody>
      </p:sp>
      <p:pic>
        <p:nvPicPr>
          <p:cNvPr id="2053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432"/>
          <a:stretch>
            <a:fillRect/>
          </a:stretch>
        </p:blipFill>
        <p:spPr bwMode="auto">
          <a:xfrm>
            <a:off x="4787900" y="5230813"/>
            <a:ext cx="212725" cy="1146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4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6100" y="1422400"/>
            <a:ext cx="4646613" cy="3308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5" name="Picture 2" descr="C:\Users\Alisa-TML\Desktop\BrandBook_Krivoy_Rog_2013_09_1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8175" y="5221288"/>
            <a:ext cx="2760663" cy="1155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Полилиния 27"/>
          <p:cNvSpPr>
            <a:spLocks noChangeArrowheads="1"/>
          </p:cNvSpPr>
          <p:nvPr/>
        </p:nvSpPr>
        <p:spPr bwMode="auto">
          <a:xfrm>
            <a:off x="4872038" y="3100388"/>
            <a:ext cx="2324100" cy="1319212"/>
          </a:xfrm>
          <a:custGeom>
            <a:avLst/>
            <a:gdLst>
              <a:gd name="T0" fmla="*/ 1962262 w 1742995"/>
              <a:gd name="T1" fmla="*/ 208565 h 1904360"/>
              <a:gd name="T2" fmla="*/ 1952014 w 1742995"/>
              <a:gd name="T3" fmla="*/ 22188 h 1904360"/>
              <a:gd name="T4" fmla="*/ 1285971 w 1742995"/>
              <a:gd name="T5" fmla="*/ 75439 h 1904360"/>
              <a:gd name="T6" fmla="*/ 927335 w 1742995"/>
              <a:gd name="T7" fmla="*/ 118039 h 1904360"/>
              <a:gd name="T8" fmla="*/ 220307 w 1742995"/>
              <a:gd name="T9" fmla="*/ 112714 h 1904360"/>
              <a:gd name="T10" fmla="*/ 25617 w 1742995"/>
              <a:gd name="T11" fmla="*/ 352343 h 1904360"/>
              <a:gd name="T12" fmla="*/ 66603 w 1742995"/>
              <a:gd name="T13" fmla="*/ 570671 h 1904360"/>
              <a:gd name="T14" fmla="*/ 271539 w 1742995"/>
              <a:gd name="T15" fmla="*/ 810300 h 1904360"/>
              <a:gd name="T16" fmla="*/ 445735 w 1742995"/>
              <a:gd name="T17" fmla="*/ 874201 h 1904360"/>
              <a:gd name="T18" fmla="*/ 353514 w 1742995"/>
              <a:gd name="T19" fmla="*/ 1049928 h 1904360"/>
              <a:gd name="T20" fmla="*/ 650670 w 1742995"/>
              <a:gd name="T21" fmla="*/ 1225656 h 1904360"/>
              <a:gd name="T22" fmla="*/ 1244985 w 1742995"/>
              <a:gd name="T23" fmla="*/ 1294882 h 1904360"/>
              <a:gd name="T24" fmla="*/ 1244985 w 1742995"/>
              <a:gd name="T25" fmla="*/ 1076553 h 1904360"/>
              <a:gd name="T26" fmla="*/ 1009309 w 1742995"/>
              <a:gd name="T27" fmla="*/ 1156430 h 1904360"/>
              <a:gd name="T28" fmla="*/ 845360 w 1742995"/>
              <a:gd name="T29" fmla="*/ 1017978 h 1904360"/>
              <a:gd name="T30" fmla="*/ 671164 w 1742995"/>
              <a:gd name="T31" fmla="*/ 900826 h 1904360"/>
              <a:gd name="T32" fmla="*/ 814620 w 1742995"/>
              <a:gd name="T33" fmla="*/ 773024 h 1904360"/>
              <a:gd name="T34" fmla="*/ 1111776 w 1742995"/>
              <a:gd name="T35" fmla="*/ 906152 h 1904360"/>
              <a:gd name="T36" fmla="*/ 1316711 w 1742995"/>
              <a:gd name="T37" fmla="*/ 762374 h 1904360"/>
              <a:gd name="T38" fmla="*/ 1572882 w 1742995"/>
              <a:gd name="T39" fmla="*/ 730423 h 1904360"/>
              <a:gd name="T40" fmla="*/ 2033988 w 1742995"/>
              <a:gd name="T41" fmla="*/ 922126 h 1904360"/>
              <a:gd name="T42" fmla="*/ 2310653 w 1742995"/>
              <a:gd name="T43" fmla="*/ 730423 h 1904360"/>
              <a:gd name="T44" fmla="*/ 1952014 w 1742995"/>
              <a:gd name="T45" fmla="*/ 506771 h 1904360"/>
              <a:gd name="T46" fmla="*/ 1962262 w 1742995"/>
              <a:gd name="T47" fmla="*/ 208565 h 1904360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1742995"/>
              <a:gd name="T73" fmla="*/ 0 h 1904360"/>
              <a:gd name="T74" fmla="*/ 1742995 w 1742995"/>
              <a:gd name="T75" fmla="*/ 1904360 h 1904360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1742995" h="1904360">
                <a:moveTo>
                  <a:pt x="1471493" y="300958"/>
                </a:moveTo>
                <a:cubicBezTo>
                  <a:pt x="1471493" y="184417"/>
                  <a:pt x="1548333" y="64034"/>
                  <a:pt x="1463809" y="32017"/>
                </a:cubicBezTo>
                <a:cubicBezTo>
                  <a:pt x="1379285" y="0"/>
                  <a:pt x="1092413" y="85805"/>
                  <a:pt x="964346" y="108857"/>
                </a:cubicBezTo>
                <a:cubicBezTo>
                  <a:pt x="836279" y="131909"/>
                  <a:pt x="828595" y="161364"/>
                  <a:pt x="695405" y="170329"/>
                </a:cubicBezTo>
                <a:cubicBezTo>
                  <a:pt x="562215" y="179294"/>
                  <a:pt x="277906" y="106295"/>
                  <a:pt x="165207" y="162645"/>
                </a:cubicBezTo>
                <a:cubicBezTo>
                  <a:pt x="52508" y="218995"/>
                  <a:pt x="38420" y="398289"/>
                  <a:pt x="19210" y="508427"/>
                </a:cubicBezTo>
                <a:cubicBezTo>
                  <a:pt x="0" y="618565"/>
                  <a:pt x="19210" y="713334"/>
                  <a:pt x="49946" y="823472"/>
                </a:cubicBezTo>
                <a:cubicBezTo>
                  <a:pt x="80682" y="933610"/>
                  <a:pt x="156242" y="1096256"/>
                  <a:pt x="203627" y="1169254"/>
                </a:cubicBezTo>
                <a:cubicBezTo>
                  <a:pt x="251012" y="1242252"/>
                  <a:pt x="324011" y="1203832"/>
                  <a:pt x="334256" y="1261462"/>
                </a:cubicBezTo>
                <a:cubicBezTo>
                  <a:pt x="344501" y="1319092"/>
                  <a:pt x="239486" y="1430511"/>
                  <a:pt x="265099" y="1515035"/>
                </a:cubicBezTo>
                <a:cubicBezTo>
                  <a:pt x="290712" y="1599559"/>
                  <a:pt x="376518" y="1709697"/>
                  <a:pt x="487936" y="1768608"/>
                </a:cubicBezTo>
                <a:cubicBezTo>
                  <a:pt x="599354" y="1827519"/>
                  <a:pt x="859331" y="1904360"/>
                  <a:pt x="933610" y="1868501"/>
                </a:cubicBezTo>
                <a:cubicBezTo>
                  <a:pt x="1007889" y="1832642"/>
                  <a:pt x="963065" y="1586752"/>
                  <a:pt x="933610" y="1553455"/>
                </a:cubicBezTo>
                <a:cubicBezTo>
                  <a:pt x="904155" y="1520158"/>
                  <a:pt x="806823" y="1682803"/>
                  <a:pt x="756877" y="1668716"/>
                </a:cubicBezTo>
                <a:cubicBezTo>
                  <a:pt x="706931" y="1654629"/>
                  <a:pt x="676195" y="1530403"/>
                  <a:pt x="633933" y="1468931"/>
                </a:cubicBezTo>
                <a:cubicBezTo>
                  <a:pt x="591671" y="1407459"/>
                  <a:pt x="507146" y="1358793"/>
                  <a:pt x="503304" y="1299882"/>
                </a:cubicBezTo>
                <a:cubicBezTo>
                  <a:pt x="499462" y="1240971"/>
                  <a:pt x="555812" y="1114184"/>
                  <a:pt x="610881" y="1115465"/>
                </a:cubicBezTo>
                <a:cubicBezTo>
                  <a:pt x="665950" y="1116746"/>
                  <a:pt x="770965" y="1310127"/>
                  <a:pt x="833718" y="1307566"/>
                </a:cubicBezTo>
                <a:cubicBezTo>
                  <a:pt x="896471" y="1305005"/>
                  <a:pt x="929768" y="1142359"/>
                  <a:pt x="987398" y="1100097"/>
                </a:cubicBezTo>
                <a:cubicBezTo>
                  <a:pt x="1045028" y="1057835"/>
                  <a:pt x="1089852" y="1015573"/>
                  <a:pt x="1179499" y="1053993"/>
                </a:cubicBezTo>
                <a:cubicBezTo>
                  <a:pt x="1269146" y="1092413"/>
                  <a:pt x="1433073" y="1330618"/>
                  <a:pt x="1525281" y="1330618"/>
                </a:cubicBezTo>
                <a:cubicBezTo>
                  <a:pt x="1617489" y="1330618"/>
                  <a:pt x="1742995" y="1153885"/>
                  <a:pt x="1732750" y="1053993"/>
                </a:cubicBezTo>
                <a:cubicBezTo>
                  <a:pt x="1722505" y="954101"/>
                  <a:pt x="1506071" y="861892"/>
                  <a:pt x="1463809" y="731264"/>
                </a:cubicBezTo>
                <a:cubicBezTo>
                  <a:pt x="1421547" y="600636"/>
                  <a:pt x="1471493" y="417499"/>
                  <a:pt x="1471493" y="300958"/>
                </a:cubicBezTo>
                <a:close/>
              </a:path>
            </a:pathLst>
          </a:custGeom>
          <a:solidFill>
            <a:srgbClr val="FF0000">
              <a:alpha val="30196"/>
            </a:srgbClr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/>
          <a:lstStyle/>
          <a:p>
            <a:endParaRPr lang="ru-RU"/>
          </a:p>
        </p:txBody>
      </p:sp>
      <p:pic>
        <p:nvPicPr>
          <p:cNvPr id="11267" name="Рисунок 16" descr="Описание: D:\work\Центр здоровя\КАРТА  для ЦЗ\ЦПМСД-5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3700" y="493713"/>
            <a:ext cx="6189663" cy="6364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68" name="Picture 30" descr="D:\Карты\6. 5Центр. ИльичаА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1063" y="5700713"/>
            <a:ext cx="1787525" cy="1062037"/>
          </a:xfrm>
          <a:prstGeom prst="rect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269" name="Oval 4"/>
          <p:cNvSpPr>
            <a:spLocks noChangeArrowheads="1"/>
          </p:cNvSpPr>
          <p:nvPr/>
        </p:nvSpPr>
        <p:spPr bwMode="auto">
          <a:xfrm>
            <a:off x="4252913" y="1111250"/>
            <a:ext cx="412750" cy="311150"/>
          </a:xfrm>
          <a:prstGeom prst="ellipse">
            <a:avLst/>
          </a:prstGeom>
          <a:solidFill>
            <a:srgbClr val="FFFFFF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Aft>
                <a:spcPts val="1000"/>
              </a:spcAft>
            </a:pPr>
            <a:r>
              <a:rPr lang="uk-UA" altLang="ru-RU" sz="1200" b="1">
                <a:solidFill>
                  <a:srgbClr val="000000"/>
                </a:solidFill>
              </a:rPr>
              <a:t>2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1270" name="Oval 5"/>
          <p:cNvSpPr>
            <a:spLocks noChangeArrowheads="1"/>
          </p:cNvSpPr>
          <p:nvPr/>
        </p:nvSpPr>
        <p:spPr bwMode="auto">
          <a:xfrm>
            <a:off x="4459288" y="1674813"/>
            <a:ext cx="412750" cy="311150"/>
          </a:xfrm>
          <a:prstGeom prst="ellipse">
            <a:avLst/>
          </a:prstGeom>
          <a:solidFill>
            <a:srgbClr val="FFFFFF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Aft>
                <a:spcPts val="1000"/>
              </a:spcAft>
            </a:pPr>
            <a:r>
              <a:rPr lang="uk-UA" altLang="ru-RU" sz="1200" b="1">
                <a:solidFill>
                  <a:srgbClr val="000000"/>
                </a:solidFill>
              </a:rPr>
              <a:t>3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1271" name="Oval 6"/>
          <p:cNvSpPr>
            <a:spLocks noChangeArrowheads="1"/>
          </p:cNvSpPr>
          <p:nvPr/>
        </p:nvSpPr>
        <p:spPr bwMode="auto">
          <a:xfrm>
            <a:off x="5441950" y="1363663"/>
            <a:ext cx="412750" cy="311150"/>
          </a:xfrm>
          <a:prstGeom prst="ellipse">
            <a:avLst/>
          </a:prstGeom>
          <a:solidFill>
            <a:srgbClr val="FFC000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Aft>
                <a:spcPts val="1000"/>
              </a:spcAft>
            </a:pPr>
            <a:r>
              <a:rPr lang="uk-UA" altLang="ru-RU" sz="1200" b="1">
                <a:solidFill>
                  <a:srgbClr val="000000"/>
                </a:solidFill>
              </a:rPr>
              <a:t>10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1272" name="Oval 7"/>
          <p:cNvSpPr>
            <a:spLocks noChangeArrowheads="1"/>
          </p:cNvSpPr>
          <p:nvPr/>
        </p:nvSpPr>
        <p:spPr bwMode="auto">
          <a:xfrm>
            <a:off x="6272213" y="1704975"/>
            <a:ext cx="412750" cy="311150"/>
          </a:xfrm>
          <a:prstGeom prst="ellipse">
            <a:avLst/>
          </a:prstGeom>
          <a:solidFill>
            <a:srgbClr val="FFFFFF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Aft>
                <a:spcPts val="1000"/>
              </a:spcAft>
            </a:pPr>
            <a:r>
              <a:rPr lang="uk-UA" altLang="ru-RU" sz="1200" b="1">
                <a:solidFill>
                  <a:srgbClr val="000000"/>
                </a:solidFill>
              </a:rPr>
              <a:t>1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1273" name="Oval 8"/>
          <p:cNvSpPr>
            <a:spLocks noChangeArrowheads="1"/>
          </p:cNvSpPr>
          <p:nvPr/>
        </p:nvSpPr>
        <p:spPr bwMode="auto">
          <a:xfrm>
            <a:off x="7267575" y="1643063"/>
            <a:ext cx="412750" cy="311150"/>
          </a:xfrm>
          <a:prstGeom prst="ellipse">
            <a:avLst/>
          </a:prstGeom>
          <a:solidFill>
            <a:srgbClr val="FFC000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Aft>
                <a:spcPts val="1000"/>
              </a:spcAft>
            </a:pPr>
            <a:r>
              <a:rPr lang="en-US" altLang="ru-RU" sz="1200" b="1">
                <a:solidFill>
                  <a:srgbClr val="000000"/>
                </a:solidFill>
              </a:rPr>
              <a:t>11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1274" name="Oval 10"/>
          <p:cNvSpPr>
            <a:spLocks noChangeArrowheads="1"/>
          </p:cNvSpPr>
          <p:nvPr/>
        </p:nvSpPr>
        <p:spPr bwMode="auto">
          <a:xfrm>
            <a:off x="6873875" y="2944813"/>
            <a:ext cx="412750" cy="311150"/>
          </a:xfrm>
          <a:prstGeom prst="ellipse">
            <a:avLst/>
          </a:prstGeom>
          <a:solidFill>
            <a:srgbClr val="FF0000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Aft>
                <a:spcPts val="1000"/>
              </a:spcAft>
            </a:pPr>
            <a:r>
              <a:rPr lang="uk-UA" altLang="ru-RU" sz="1200" b="1">
                <a:solidFill>
                  <a:srgbClr val="000000"/>
                </a:solidFill>
              </a:rPr>
              <a:t>12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1275" name="Oval 14"/>
          <p:cNvSpPr>
            <a:spLocks noChangeArrowheads="1"/>
          </p:cNvSpPr>
          <p:nvPr/>
        </p:nvSpPr>
        <p:spPr bwMode="auto">
          <a:xfrm>
            <a:off x="5235575" y="2832100"/>
            <a:ext cx="412750" cy="311150"/>
          </a:xfrm>
          <a:prstGeom prst="ellipse">
            <a:avLst/>
          </a:prstGeom>
          <a:solidFill>
            <a:srgbClr val="FFFFFF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Aft>
                <a:spcPts val="1000"/>
              </a:spcAft>
            </a:pPr>
            <a:r>
              <a:rPr lang="uk-UA" altLang="ru-RU" sz="1200" b="1">
                <a:solidFill>
                  <a:srgbClr val="000000"/>
                </a:solidFill>
              </a:rPr>
              <a:t>4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1276" name="Oval 16"/>
          <p:cNvSpPr>
            <a:spLocks noChangeArrowheads="1"/>
          </p:cNvSpPr>
          <p:nvPr/>
        </p:nvSpPr>
        <p:spPr bwMode="auto">
          <a:xfrm>
            <a:off x="7734300" y="3827463"/>
            <a:ext cx="412750" cy="309562"/>
          </a:xfrm>
          <a:prstGeom prst="ellipse">
            <a:avLst/>
          </a:prstGeom>
          <a:solidFill>
            <a:srgbClr val="FF0000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Aft>
                <a:spcPts val="1000"/>
              </a:spcAft>
            </a:pPr>
            <a:r>
              <a:rPr lang="en-US" altLang="ru-RU" sz="1200" b="1">
                <a:solidFill>
                  <a:srgbClr val="000000"/>
                </a:solidFill>
              </a:rPr>
              <a:t>5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1277" name="Oval 18"/>
          <p:cNvSpPr>
            <a:spLocks noChangeArrowheads="1"/>
          </p:cNvSpPr>
          <p:nvPr/>
        </p:nvSpPr>
        <p:spPr bwMode="auto">
          <a:xfrm>
            <a:off x="6116638" y="4478338"/>
            <a:ext cx="412750" cy="309562"/>
          </a:xfrm>
          <a:prstGeom prst="ellipse">
            <a:avLst/>
          </a:prstGeom>
          <a:solidFill>
            <a:schemeClr val="bg1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Aft>
                <a:spcPts val="1000"/>
              </a:spcAft>
            </a:pPr>
            <a:r>
              <a:rPr lang="uk-UA" altLang="ru-RU" sz="1200" b="1">
                <a:solidFill>
                  <a:srgbClr val="000000"/>
                </a:solidFill>
              </a:rPr>
              <a:t>6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1278" name="Oval 19"/>
          <p:cNvSpPr>
            <a:spLocks noChangeArrowheads="1"/>
          </p:cNvSpPr>
          <p:nvPr/>
        </p:nvSpPr>
        <p:spPr bwMode="auto">
          <a:xfrm>
            <a:off x="7940675" y="5259388"/>
            <a:ext cx="412750" cy="309562"/>
          </a:xfrm>
          <a:prstGeom prst="ellipse">
            <a:avLst/>
          </a:prstGeom>
          <a:solidFill>
            <a:srgbClr val="FFFFFF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Aft>
                <a:spcPts val="1000"/>
              </a:spcAft>
            </a:pPr>
            <a:r>
              <a:rPr lang="uk-UA" altLang="ru-RU" sz="1200" b="1">
                <a:solidFill>
                  <a:srgbClr val="000000"/>
                </a:solidFill>
              </a:rPr>
              <a:t>5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1279" name="Oval 21"/>
          <p:cNvSpPr>
            <a:spLocks noChangeArrowheads="1"/>
          </p:cNvSpPr>
          <p:nvPr/>
        </p:nvSpPr>
        <p:spPr bwMode="auto">
          <a:xfrm>
            <a:off x="5235575" y="5921375"/>
            <a:ext cx="412750" cy="311150"/>
          </a:xfrm>
          <a:prstGeom prst="ellipse">
            <a:avLst/>
          </a:prstGeom>
          <a:solidFill>
            <a:srgbClr val="00B050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Aft>
                <a:spcPts val="1000"/>
              </a:spcAft>
            </a:pPr>
            <a:r>
              <a:rPr lang="en-US" altLang="ru-RU" sz="1200" b="1">
                <a:solidFill>
                  <a:srgbClr val="000000"/>
                </a:solidFill>
                <a:latin typeface="Arial" charset="0"/>
              </a:rPr>
              <a:t>9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1280" name="Oval 22"/>
          <p:cNvSpPr>
            <a:spLocks noChangeArrowheads="1"/>
          </p:cNvSpPr>
          <p:nvPr/>
        </p:nvSpPr>
        <p:spPr bwMode="auto">
          <a:xfrm>
            <a:off x="8091488" y="6224588"/>
            <a:ext cx="412750" cy="309562"/>
          </a:xfrm>
          <a:prstGeom prst="ellipse">
            <a:avLst/>
          </a:prstGeom>
          <a:solidFill>
            <a:srgbClr val="00B050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Aft>
                <a:spcPts val="1000"/>
              </a:spcAft>
            </a:pPr>
            <a:r>
              <a:rPr lang="uk-UA" altLang="ru-RU" sz="1200" b="1">
                <a:solidFill>
                  <a:srgbClr val="000000"/>
                </a:solidFill>
                <a:latin typeface="Arial" charset="0"/>
              </a:rPr>
              <a:t>8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1281" name="Rectangle 29"/>
          <p:cNvSpPr>
            <a:spLocks noChangeArrowheads="1"/>
          </p:cNvSpPr>
          <p:nvPr/>
        </p:nvSpPr>
        <p:spPr bwMode="auto">
          <a:xfrm>
            <a:off x="7267575" y="5724525"/>
            <a:ext cx="1030288" cy="17145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Aft>
                <a:spcPts val="1000"/>
              </a:spcAft>
            </a:pPr>
            <a:r>
              <a:rPr lang="uk-UA" altLang="ru-RU" sz="1100">
                <a:solidFill>
                  <a:srgbClr val="000000"/>
                </a:solidFill>
              </a:rPr>
              <a:t>с. Ілліча</a:t>
            </a:r>
            <a:endParaRPr lang="ru-RU" altLang="ru-RU">
              <a:solidFill>
                <a:srgbClr val="000000"/>
              </a:solidFill>
              <a:latin typeface="Arial" charset="0"/>
            </a:endParaRPr>
          </a:p>
        </p:txBody>
      </p:sp>
      <p:graphicFrame>
        <p:nvGraphicFramePr>
          <p:cNvPr id="25" name="Таблица 24"/>
          <p:cNvGraphicFramePr>
            <a:graphicFrameLocks noGrp="1"/>
          </p:cNvGraphicFramePr>
          <p:nvPr/>
        </p:nvGraphicFramePr>
        <p:xfrm>
          <a:off x="0" y="9016"/>
          <a:ext cx="9135648" cy="731520"/>
        </p:xfrm>
        <a:graphic>
          <a:graphicData uri="http://schemas.openxmlformats.org/drawingml/2006/table">
            <a:tbl>
              <a:tblPr/>
              <a:tblGrid>
                <a:gridCol w="9135648"/>
              </a:tblGrid>
              <a:tr h="47873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Комунальна установа «Центр первинної медико-санітарної допомоги №</a:t>
                      </a:r>
                      <a:r>
                        <a:rPr kumimoji="0" lang="en-US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5</a:t>
                      </a:r>
                      <a:r>
                        <a:rPr kumimoji="0" lang="uk-UA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» Населення – 134 566 осіб</a:t>
                      </a:r>
                      <a:endParaRPr kumimoji="0" lang="ru-RU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8488C4">
                            <a:alpha val="89000"/>
                          </a:srgbClr>
                        </a:gs>
                        <a:gs pos="53000">
                          <a:srgbClr val="D4DEFF"/>
                        </a:gs>
                        <a:gs pos="83000">
                          <a:srgbClr val="D4DEFF"/>
                        </a:gs>
                        <a:gs pos="100000">
                          <a:srgbClr val="96AB94"/>
                        </a:gs>
                      </a:gsLst>
                      <a:lin ang="5400000" scaled="0"/>
                    </a:gradFill>
                  </a:tcPr>
                </a:tc>
              </a:tr>
            </a:tbl>
          </a:graphicData>
        </a:graphic>
      </p:graphicFrame>
      <p:sp>
        <p:nvSpPr>
          <p:cNvPr id="11283" name="Oval 19"/>
          <p:cNvSpPr>
            <a:spLocks noChangeArrowheads="1"/>
          </p:cNvSpPr>
          <p:nvPr/>
        </p:nvSpPr>
        <p:spPr bwMode="auto">
          <a:xfrm>
            <a:off x="6888163" y="5094288"/>
            <a:ext cx="412750" cy="311150"/>
          </a:xfrm>
          <a:prstGeom prst="ellipse">
            <a:avLst/>
          </a:prstGeom>
          <a:solidFill>
            <a:srgbClr val="FFFFFF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Aft>
                <a:spcPts val="1000"/>
              </a:spcAft>
            </a:pPr>
            <a:r>
              <a:rPr lang="en-US" altLang="ru-RU" sz="1200" b="1">
                <a:solidFill>
                  <a:srgbClr val="000000"/>
                </a:solidFill>
              </a:rPr>
              <a:t>7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graphicFrame>
        <p:nvGraphicFramePr>
          <p:cNvPr id="11284" name="Объект 1"/>
          <p:cNvGraphicFramePr>
            <a:graphicFrameLocks noChangeAspect="1"/>
          </p:cNvGraphicFramePr>
          <p:nvPr/>
        </p:nvGraphicFramePr>
        <p:xfrm>
          <a:off x="3175" y="593725"/>
          <a:ext cx="6091238" cy="23701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4" name="Документ" r:id="rId6" imgW="6090910" imgH="2369387" progId="Word.Document.12">
                  <p:embed/>
                </p:oleObj>
              </mc:Choice>
              <mc:Fallback>
                <p:oleObj name="Документ" r:id="rId6" imgW="6090910" imgH="2369387" progId="Word.Document.12">
                  <p:embed/>
                  <p:pic>
                    <p:nvPicPr>
                      <p:cNvPr id="0" name="Объект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175" y="593725"/>
                        <a:ext cx="6091238" cy="23701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Таблица 2"/>
          <p:cNvGraphicFramePr>
            <a:graphicFrameLocks noGrp="1"/>
          </p:cNvGraphicFramePr>
          <p:nvPr/>
        </p:nvGraphicFramePr>
        <p:xfrm>
          <a:off x="250825" y="3041650"/>
          <a:ext cx="2376488" cy="2208213"/>
        </p:xfrm>
        <a:graphic>
          <a:graphicData uri="http://schemas.openxmlformats.org/drawingml/2006/table">
            <a:tbl>
              <a:tblPr firstRow="1" firstCol="1" bandRow="1"/>
              <a:tblGrid>
                <a:gridCol w="1177788"/>
                <a:gridCol w="1198700"/>
              </a:tblGrid>
              <a:tr h="49071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Підрозділи сьогодні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6" marR="685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Населення сьогодні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6" marR="685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35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. №</a:t>
                      </a:r>
                      <a:r>
                        <a:rPr lang="en-US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1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6" marR="6858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39554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6" marR="6858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35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. №2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6" marR="685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13424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6" marR="685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35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.№3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6" marR="685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26856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6" marR="685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35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. №4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6" marR="685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20296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6" marR="685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35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. №5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6" marR="685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17441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6" marR="685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35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. №6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6" marR="685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16995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6" marR="685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35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. №7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6" marR="685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8696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6" marR="6858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Полилиния 31"/>
          <p:cNvSpPr>
            <a:spLocks noChangeArrowheads="1"/>
          </p:cNvSpPr>
          <p:nvPr/>
        </p:nvSpPr>
        <p:spPr bwMode="auto">
          <a:xfrm>
            <a:off x="3867150" y="4068763"/>
            <a:ext cx="1150938" cy="576262"/>
          </a:xfrm>
          <a:custGeom>
            <a:avLst/>
            <a:gdLst>
              <a:gd name="T0" fmla="*/ 139451 w 863600"/>
              <a:gd name="T1" fmla="*/ 356506 h 833718"/>
              <a:gd name="T2" fmla="*/ 223121 w 863600"/>
              <a:gd name="T3" fmla="*/ 127102 h 833718"/>
              <a:gd name="T4" fmla="*/ 498039 w 863600"/>
              <a:gd name="T5" fmla="*/ 77501 h 833718"/>
              <a:gd name="T6" fmla="*/ 581710 w 863600"/>
              <a:gd name="T7" fmla="*/ 21700 h 833718"/>
              <a:gd name="T8" fmla="*/ 916392 w 863600"/>
              <a:gd name="T9" fmla="*/ 40300 h 833718"/>
              <a:gd name="T10" fmla="*/ 1143498 w 863600"/>
              <a:gd name="T11" fmla="*/ 263504 h 833718"/>
              <a:gd name="T12" fmla="*/ 964204 w 863600"/>
              <a:gd name="T13" fmla="*/ 300705 h 833718"/>
              <a:gd name="T14" fmla="*/ 988110 w 863600"/>
              <a:gd name="T15" fmla="*/ 437107 h 833718"/>
              <a:gd name="T16" fmla="*/ 605616 w 863600"/>
              <a:gd name="T17" fmla="*/ 517709 h 833718"/>
              <a:gd name="T18" fmla="*/ 318745 w 863600"/>
              <a:gd name="T19" fmla="*/ 499108 h 833718"/>
              <a:gd name="T20" fmla="*/ 318745 w 863600"/>
              <a:gd name="T21" fmla="*/ 548709 h 833718"/>
              <a:gd name="T22" fmla="*/ 31875 w 863600"/>
              <a:gd name="T23" fmla="*/ 542508 h 833718"/>
              <a:gd name="T24" fmla="*/ 139451 w 863600"/>
              <a:gd name="T25" fmla="*/ 356506 h 833718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863600"/>
              <a:gd name="T40" fmla="*/ 0 h 833718"/>
              <a:gd name="T41" fmla="*/ 863600 w 863600"/>
              <a:gd name="T42" fmla="*/ 833718 h 833718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863600" h="833718">
                <a:moveTo>
                  <a:pt x="104588" y="515471"/>
                </a:moveTo>
                <a:cubicBezTo>
                  <a:pt x="128494" y="415365"/>
                  <a:pt x="122518" y="251012"/>
                  <a:pt x="167341" y="183777"/>
                </a:cubicBezTo>
                <a:cubicBezTo>
                  <a:pt x="212165" y="116542"/>
                  <a:pt x="328706" y="137460"/>
                  <a:pt x="373529" y="112060"/>
                </a:cubicBezTo>
                <a:cubicBezTo>
                  <a:pt x="418352" y="86660"/>
                  <a:pt x="383988" y="40342"/>
                  <a:pt x="436282" y="31377"/>
                </a:cubicBezTo>
                <a:cubicBezTo>
                  <a:pt x="488576" y="22412"/>
                  <a:pt x="617071" y="0"/>
                  <a:pt x="687294" y="58271"/>
                </a:cubicBezTo>
                <a:cubicBezTo>
                  <a:pt x="757517" y="116542"/>
                  <a:pt x="851647" y="318248"/>
                  <a:pt x="857623" y="381001"/>
                </a:cubicBezTo>
                <a:cubicBezTo>
                  <a:pt x="863600" y="443754"/>
                  <a:pt x="742577" y="392954"/>
                  <a:pt x="723153" y="434789"/>
                </a:cubicBezTo>
                <a:cubicBezTo>
                  <a:pt x="703730" y="476624"/>
                  <a:pt x="785905" y="579718"/>
                  <a:pt x="741082" y="632012"/>
                </a:cubicBezTo>
                <a:cubicBezTo>
                  <a:pt x="696259" y="684306"/>
                  <a:pt x="537883" y="733613"/>
                  <a:pt x="454212" y="748554"/>
                </a:cubicBezTo>
                <a:cubicBezTo>
                  <a:pt x="370541" y="763495"/>
                  <a:pt x="274918" y="714190"/>
                  <a:pt x="239059" y="721660"/>
                </a:cubicBezTo>
                <a:cubicBezTo>
                  <a:pt x="203200" y="729131"/>
                  <a:pt x="274918" y="782918"/>
                  <a:pt x="239059" y="793377"/>
                </a:cubicBezTo>
                <a:cubicBezTo>
                  <a:pt x="203200" y="803836"/>
                  <a:pt x="47812" y="833718"/>
                  <a:pt x="23906" y="784412"/>
                </a:cubicBezTo>
                <a:cubicBezTo>
                  <a:pt x="0" y="735106"/>
                  <a:pt x="80682" y="615577"/>
                  <a:pt x="104588" y="515471"/>
                </a:cubicBezTo>
                <a:close/>
              </a:path>
            </a:pathLst>
          </a:custGeom>
          <a:solidFill>
            <a:srgbClr val="7030A0">
              <a:alpha val="50980"/>
            </a:srgbClr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/>
          <a:lstStyle/>
          <a:p>
            <a:endParaRPr lang="ru-RU"/>
          </a:p>
        </p:txBody>
      </p:sp>
      <p:sp>
        <p:nvSpPr>
          <p:cNvPr id="12291" name="Полилиния 30"/>
          <p:cNvSpPr>
            <a:spLocks noChangeArrowheads="1"/>
          </p:cNvSpPr>
          <p:nvPr/>
        </p:nvSpPr>
        <p:spPr bwMode="auto">
          <a:xfrm>
            <a:off x="3429000" y="2044700"/>
            <a:ext cx="571500" cy="188913"/>
          </a:xfrm>
          <a:custGeom>
            <a:avLst/>
            <a:gdLst>
              <a:gd name="T0" fmla="*/ 13971 w 346635"/>
              <a:gd name="T1" fmla="*/ 197903 h 228599"/>
              <a:gd name="T2" fmla="*/ 153696 w 346635"/>
              <a:gd name="T3" fmla="*/ 43022 h 228599"/>
              <a:gd name="T4" fmla="*/ 544921 w 346635"/>
              <a:gd name="T5" fmla="*/ 4302 h 228599"/>
              <a:gd name="T6" fmla="*/ 964089 w 346635"/>
              <a:gd name="T7" fmla="*/ 43022 h 228599"/>
              <a:gd name="T8" fmla="*/ 1047922 w 346635"/>
              <a:gd name="T9" fmla="*/ 262438 h 228599"/>
              <a:gd name="T10" fmla="*/ 768476 w 346635"/>
              <a:gd name="T11" fmla="*/ 326971 h 228599"/>
              <a:gd name="T12" fmla="*/ 125750 w 346635"/>
              <a:gd name="T13" fmla="*/ 249532 h 228599"/>
              <a:gd name="T14" fmla="*/ 13971 w 346635"/>
              <a:gd name="T15" fmla="*/ 197903 h 22859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46635"/>
              <a:gd name="T25" fmla="*/ 0 h 228599"/>
              <a:gd name="T26" fmla="*/ 346635 w 346635"/>
              <a:gd name="T27" fmla="*/ 228599 h 228599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46635" h="228599">
                <a:moveTo>
                  <a:pt x="4482" y="137458"/>
                </a:moveTo>
                <a:cubicBezTo>
                  <a:pt x="5976" y="113552"/>
                  <a:pt x="20918" y="52294"/>
                  <a:pt x="49306" y="29882"/>
                </a:cubicBezTo>
                <a:cubicBezTo>
                  <a:pt x="77694" y="7470"/>
                  <a:pt x="131483" y="2988"/>
                  <a:pt x="174812" y="2988"/>
                </a:cubicBezTo>
                <a:cubicBezTo>
                  <a:pt x="218141" y="2988"/>
                  <a:pt x="282388" y="0"/>
                  <a:pt x="309282" y="29882"/>
                </a:cubicBezTo>
                <a:cubicBezTo>
                  <a:pt x="336176" y="59764"/>
                  <a:pt x="346635" y="149412"/>
                  <a:pt x="336176" y="182282"/>
                </a:cubicBezTo>
                <a:cubicBezTo>
                  <a:pt x="325717" y="215152"/>
                  <a:pt x="295835" y="228599"/>
                  <a:pt x="246529" y="227105"/>
                </a:cubicBezTo>
                <a:cubicBezTo>
                  <a:pt x="197223" y="225611"/>
                  <a:pt x="80682" y="192741"/>
                  <a:pt x="40341" y="173317"/>
                </a:cubicBezTo>
                <a:cubicBezTo>
                  <a:pt x="0" y="153894"/>
                  <a:pt x="2988" y="161364"/>
                  <a:pt x="4482" y="137458"/>
                </a:cubicBezTo>
                <a:close/>
              </a:path>
            </a:pathLst>
          </a:custGeom>
          <a:solidFill>
            <a:srgbClr val="7030A0">
              <a:alpha val="49019"/>
            </a:srgbClr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/>
          <a:lstStyle/>
          <a:p>
            <a:endParaRPr lang="ru-RU"/>
          </a:p>
        </p:txBody>
      </p:sp>
      <p:pic>
        <p:nvPicPr>
          <p:cNvPr id="12292" name="Рисунок 55" descr="Описание: D:\work\Центр здоровя\КАРТА  для ЦЗ\ЦПМСД-6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4650" y="487363"/>
            <a:ext cx="6229350" cy="6370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3" name="Picture 32" descr="D:\Карты\8. 6АвангардА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1175" y="5807075"/>
            <a:ext cx="2171700" cy="989013"/>
          </a:xfrm>
          <a:prstGeom prst="rect">
            <a:avLst/>
          </a:prstGeom>
          <a:noFill/>
          <a:ln w="25400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294" name="Oval 9"/>
          <p:cNvSpPr>
            <a:spLocks noChangeArrowheads="1"/>
          </p:cNvSpPr>
          <p:nvPr/>
        </p:nvSpPr>
        <p:spPr bwMode="auto">
          <a:xfrm>
            <a:off x="3587750" y="2843213"/>
            <a:ext cx="412750" cy="311150"/>
          </a:xfrm>
          <a:prstGeom prst="ellipse">
            <a:avLst/>
          </a:prstGeom>
          <a:solidFill>
            <a:srgbClr val="FFFFFF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Aft>
                <a:spcPts val="1000"/>
              </a:spcAft>
            </a:pPr>
            <a:r>
              <a:rPr lang="uk-UA" altLang="ru-RU" sz="1200" b="1">
                <a:solidFill>
                  <a:srgbClr val="000000"/>
                </a:solidFill>
              </a:rPr>
              <a:t>2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295" name="Oval 10"/>
          <p:cNvSpPr>
            <a:spLocks noChangeArrowheads="1"/>
          </p:cNvSpPr>
          <p:nvPr/>
        </p:nvSpPr>
        <p:spPr bwMode="auto">
          <a:xfrm>
            <a:off x="5373688" y="1871663"/>
            <a:ext cx="412750" cy="311150"/>
          </a:xfrm>
          <a:prstGeom prst="ellipse">
            <a:avLst/>
          </a:prstGeom>
          <a:solidFill>
            <a:srgbClr val="FFFFFF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Aft>
                <a:spcPts val="1000"/>
              </a:spcAft>
            </a:pPr>
            <a:r>
              <a:rPr lang="uk-UA" altLang="ru-RU" sz="1200" b="1">
                <a:solidFill>
                  <a:srgbClr val="000000"/>
                </a:solidFill>
              </a:rPr>
              <a:t>6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296" name="Oval 11"/>
          <p:cNvSpPr>
            <a:spLocks noChangeArrowheads="1"/>
          </p:cNvSpPr>
          <p:nvPr/>
        </p:nvSpPr>
        <p:spPr bwMode="auto">
          <a:xfrm>
            <a:off x="7231063" y="2730500"/>
            <a:ext cx="412750" cy="311150"/>
          </a:xfrm>
          <a:prstGeom prst="ellipse">
            <a:avLst/>
          </a:prstGeom>
          <a:solidFill>
            <a:srgbClr val="FFFFFF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Aft>
                <a:spcPts val="1000"/>
              </a:spcAft>
            </a:pPr>
            <a:r>
              <a:rPr lang="uk-UA" altLang="ru-RU" sz="1200" b="1">
                <a:solidFill>
                  <a:srgbClr val="000000"/>
                </a:solidFill>
              </a:rPr>
              <a:t>3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297" name="Oval 12"/>
          <p:cNvSpPr>
            <a:spLocks noChangeArrowheads="1"/>
          </p:cNvSpPr>
          <p:nvPr/>
        </p:nvSpPr>
        <p:spPr bwMode="auto">
          <a:xfrm>
            <a:off x="7621588" y="1808163"/>
            <a:ext cx="412750" cy="311150"/>
          </a:xfrm>
          <a:prstGeom prst="ellipse">
            <a:avLst/>
          </a:prstGeom>
          <a:solidFill>
            <a:srgbClr val="FFFFFF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Aft>
                <a:spcPts val="1000"/>
              </a:spcAft>
            </a:pPr>
            <a:r>
              <a:rPr lang="uk-UA" altLang="ru-RU" sz="1200" b="1">
                <a:solidFill>
                  <a:srgbClr val="000000"/>
                </a:solidFill>
              </a:rPr>
              <a:t>4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298" name="Oval 13"/>
          <p:cNvSpPr>
            <a:spLocks noChangeArrowheads="1"/>
          </p:cNvSpPr>
          <p:nvPr/>
        </p:nvSpPr>
        <p:spPr bwMode="auto">
          <a:xfrm>
            <a:off x="8097838" y="1639888"/>
            <a:ext cx="415925" cy="311150"/>
          </a:xfrm>
          <a:prstGeom prst="ellipse">
            <a:avLst/>
          </a:prstGeom>
          <a:solidFill>
            <a:srgbClr val="FFFFFF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Aft>
                <a:spcPts val="1000"/>
              </a:spcAft>
            </a:pPr>
            <a:r>
              <a:rPr lang="uk-UA" altLang="ru-RU" sz="1200" b="1">
                <a:solidFill>
                  <a:srgbClr val="000000"/>
                </a:solidFill>
              </a:rPr>
              <a:t>1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299" name="Oval 13"/>
          <p:cNvSpPr>
            <a:spLocks noChangeArrowheads="1"/>
          </p:cNvSpPr>
          <p:nvPr/>
        </p:nvSpPr>
        <p:spPr bwMode="auto">
          <a:xfrm>
            <a:off x="6824663" y="1154113"/>
            <a:ext cx="412750" cy="311150"/>
          </a:xfrm>
          <a:prstGeom prst="ellipse">
            <a:avLst/>
          </a:prstGeom>
          <a:solidFill>
            <a:srgbClr val="FF0000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Aft>
                <a:spcPts val="1000"/>
              </a:spcAft>
            </a:pPr>
            <a:r>
              <a:rPr lang="uk-UA" altLang="ru-RU" sz="1200" b="1">
                <a:solidFill>
                  <a:srgbClr val="000000"/>
                </a:solidFill>
              </a:rPr>
              <a:t>12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300" name="Oval 13"/>
          <p:cNvSpPr>
            <a:spLocks noChangeArrowheads="1"/>
          </p:cNvSpPr>
          <p:nvPr/>
        </p:nvSpPr>
        <p:spPr bwMode="auto">
          <a:xfrm>
            <a:off x="4811713" y="2532063"/>
            <a:ext cx="412750" cy="311150"/>
          </a:xfrm>
          <a:prstGeom prst="ellipse">
            <a:avLst/>
          </a:prstGeom>
          <a:solidFill>
            <a:srgbClr val="FFC000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Aft>
                <a:spcPts val="1000"/>
              </a:spcAft>
            </a:pPr>
            <a:r>
              <a:rPr lang="uk-UA" altLang="ru-RU" sz="1200" b="1">
                <a:solidFill>
                  <a:srgbClr val="000000"/>
                </a:solidFill>
              </a:rPr>
              <a:t>1</a:t>
            </a:r>
            <a:r>
              <a:rPr lang="en-US" altLang="ru-RU" sz="1200" b="1">
                <a:solidFill>
                  <a:srgbClr val="000000"/>
                </a:solidFill>
              </a:rPr>
              <a:t>1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301" name="Oval 14"/>
          <p:cNvSpPr>
            <a:spLocks noChangeArrowheads="1"/>
          </p:cNvSpPr>
          <p:nvPr/>
        </p:nvSpPr>
        <p:spPr bwMode="auto">
          <a:xfrm>
            <a:off x="8040688" y="4562475"/>
            <a:ext cx="412750" cy="311150"/>
          </a:xfrm>
          <a:prstGeom prst="ellipse">
            <a:avLst/>
          </a:prstGeom>
          <a:solidFill>
            <a:srgbClr val="FFFFFF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Aft>
                <a:spcPts val="1000"/>
              </a:spcAft>
            </a:pPr>
            <a:r>
              <a:rPr lang="en-US" altLang="ru-RU" sz="1200" b="1">
                <a:solidFill>
                  <a:srgbClr val="000000"/>
                </a:solidFill>
                <a:latin typeface="Arial" charset="0"/>
              </a:rPr>
              <a:t>9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302" name="Oval 13"/>
          <p:cNvSpPr>
            <a:spLocks noChangeArrowheads="1"/>
          </p:cNvSpPr>
          <p:nvPr/>
        </p:nvSpPr>
        <p:spPr bwMode="auto">
          <a:xfrm>
            <a:off x="7024688" y="4718050"/>
            <a:ext cx="412750" cy="311150"/>
          </a:xfrm>
          <a:prstGeom prst="ellipse">
            <a:avLst/>
          </a:prstGeom>
          <a:solidFill>
            <a:srgbClr val="00B050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Aft>
                <a:spcPts val="1000"/>
              </a:spcAft>
            </a:pPr>
            <a:r>
              <a:rPr lang="en-US" altLang="ru-RU" sz="1200" b="1">
                <a:solidFill>
                  <a:srgbClr val="000000"/>
                </a:solidFill>
                <a:latin typeface="Arial" charset="0"/>
              </a:rPr>
              <a:t>10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303" name="Oval 13"/>
          <p:cNvSpPr>
            <a:spLocks noChangeArrowheads="1"/>
          </p:cNvSpPr>
          <p:nvPr/>
        </p:nvSpPr>
        <p:spPr bwMode="auto">
          <a:xfrm>
            <a:off x="8661400" y="4668838"/>
            <a:ext cx="412750" cy="311150"/>
          </a:xfrm>
          <a:prstGeom prst="ellipse">
            <a:avLst/>
          </a:prstGeom>
          <a:solidFill>
            <a:schemeClr val="bg1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Aft>
                <a:spcPts val="1000"/>
              </a:spcAft>
            </a:pPr>
            <a:r>
              <a:rPr lang="en-US" altLang="ru-RU" sz="1200" b="1">
                <a:solidFill>
                  <a:srgbClr val="000000"/>
                </a:solidFill>
                <a:latin typeface="Arial" charset="0"/>
              </a:rPr>
              <a:t>5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304" name="Oval 15"/>
          <p:cNvSpPr>
            <a:spLocks noChangeArrowheads="1"/>
          </p:cNvSpPr>
          <p:nvPr/>
        </p:nvSpPr>
        <p:spPr bwMode="auto">
          <a:xfrm>
            <a:off x="4144963" y="4886325"/>
            <a:ext cx="412750" cy="311150"/>
          </a:xfrm>
          <a:prstGeom prst="ellipse">
            <a:avLst/>
          </a:prstGeom>
          <a:solidFill>
            <a:srgbClr val="FFFFFF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Aft>
                <a:spcPts val="1000"/>
              </a:spcAft>
            </a:pPr>
            <a:r>
              <a:rPr lang="uk-UA" altLang="ru-RU" sz="1200" b="1">
                <a:solidFill>
                  <a:srgbClr val="000000"/>
                </a:solidFill>
              </a:rPr>
              <a:t>8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305" name="Rectangle 18"/>
          <p:cNvSpPr>
            <a:spLocks noChangeArrowheads="1"/>
          </p:cNvSpPr>
          <p:nvPr/>
        </p:nvSpPr>
        <p:spPr bwMode="auto">
          <a:xfrm>
            <a:off x="4754563" y="4730750"/>
            <a:ext cx="1295400" cy="174625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Aft>
                <a:spcPts val="1000"/>
              </a:spcAft>
            </a:pPr>
            <a:r>
              <a:rPr lang="uk-UA" altLang="ru-RU" sz="1200" b="1">
                <a:solidFill>
                  <a:srgbClr val="000000"/>
                </a:solidFill>
              </a:rPr>
              <a:t>с. Рудничне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306" name="Rectangle 19"/>
          <p:cNvSpPr>
            <a:spLocks noChangeArrowheads="1"/>
          </p:cNvSpPr>
          <p:nvPr/>
        </p:nvSpPr>
        <p:spPr bwMode="auto">
          <a:xfrm>
            <a:off x="4764088" y="5078413"/>
            <a:ext cx="1219200" cy="211137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Aft>
                <a:spcPts val="1000"/>
              </a:spcAft>
            </a:pPr>
            <a:r>
              <a:rPr lang="uk-UA" altLang="ru-RU" sz="1200" b="1">
                <a:solidFill>
                  <a:srgbClr val="000000"/>
                </a:solidFill>
              </a:rPr>
              <a:t>с. Степове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307" name="Rectangle 20"/>
          <p:cNvSpPr>
            <a:spLocks noChangeArrowheads="1"/>
          </p:cNvSpPr>
          <p:nvPr/>
        </p:nvSpPr>
        <p:spPr bwMode="auto">
          <a:xfrm>
            <a:off x="4484688" y="5478463"/>
            <a:ext cx="1438275" cy="207962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Aft>
                <a:spcPts val="1000"/>
              </a:spcAft>
            </a:pPr>
            <a:r>
              <a:rPr lang="uk-UA" altLang="ru-RU" sz="1200" b="1">
                <a:solidFill>
                  <a:srgbClr val="000000"/>
                </a:solidFill>
              </a:rPr>
              <a:t>с. Рахманове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graphicFrame>
        <p:nvGraphicFramePr>
          <p:cNvPr id="28" name="Таблица 27"/>
          <p:cNvGraphicFramePr>
            <a:graphicFrameLocks noGrp="1"/>
          </p:cNvGraphicFramePr>
          <p:nvPr/>
        </p:nvGraphicFramePr>
        <p:xfrm>
          <a:off x="-23435" y="0"/>
          <a:ext cx="9144000" cy="731520"/>
        </p:xfrm>
        <a:graphic>
          <a:graphicData uri="http://schemas.openxmlformats.org/drawingml/2006/table">
            <a:tbl>
              <a:tblPr/>
              <a:tblGrid>
                <a:gridCol w="9144000"/>
              </a:tblGrid>
              <a:tr h="47873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Комунальна установа «Центр первинної медико-санітарної допомоги №</a:t>
                      </a:r>
                      <a:r>
                        <a:rPr kumimoji="0" lang="en-US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6</a:t>
                      </a:r>
                      <a:r>
                        <a:rPr kumimoji="0" lang="uk-UA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» </a:t>
                      </a:r>
                      <a:r>
                        <a:rPr lang="uk-UA" sz="2400" b="1" dirty="0" smtClean="0">
                          <a:effectLst/>
                          <a:latin typeface="+mn-lt"/>
                          <a:ea typeface="Calibri"/>
                        </a:rPr>
                        <a:t>Населення – 105 461 осіб</a:t>
                      </a:r>
                      <a:endParaRPr kumimoji="0" lang="ru-RU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8488C4">
                            <a:alpha val="89000"/>
                          </a:srgbClr>
                        </a:gs>
                        <a:gs pos="53000">
                          <a:srgbClr val="D4DEFF"/>
                        </a:gs>
                        <a:gs pos="83000">
                          <a:srgbClr val="D4DEFF"/>
                        </a:gs>
                        <a:gs pos="100000">
                          <a:srgbClr val="96AB94"/>
                        </a:gs>
                      </a:gsLst>
                      <a:lin ang="5400000" scaled="0"/>
                    </a:gradFill>
                  </a:tcPr>
                </a:tc>
              </a:tr>
            </a:tbl>
          </a:graphicData>
        </a:graphic>
      </p:graphicFrame>
      <p:sp>
        <p:nvSpPr>
          <p:cNvPr id="12309" name="Oval 16"/>
          <p:cNvSpPr>
            <a:spLocks noChangeArrowheads="1"/>
          </p:cNvSpPr>
          <p:nvPr/>
        </p:nvSpPr>
        <p:spPr bwMode="auto">
          <a:xfrm>
            <a:off x="3857625" y="6211888"/>
            <a:ext cx="412750" cy="309562"/>
          </a:xfrm>
          <a:prstGeom prst="ellipse">
            <a:avLst/>
          </a:prstGeom>
          <a:solidFill>
            <a:srgbClr val="FFFFFF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Aft>
                <a:spcPts val="1000"/>
              </a:spcAft>
            </a:pPr>
            <a:r>
              <a:rPr lang="uk-UA" altLang="ru-RU" sz="1200" b="1">
                <a:solidFill>
                  <a:srgbClr val="000000"/>
                </a:solidFill>
              </a:rPr>
              <a:t>7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2310" name="Rectangle 17"/>
          <p:cNvSpPr>
            <a:spLocks noChangeArrowheads="1"/>
          </p:cNvSpPr>
          <p:nvPr/>
        </p:nvSpPr>
        <p:spPr bwMode="auto">
          <a:xfrm>
            <a:off x="3078163" y="5861050"/>
            <a:ext cx="1282700" cy="192088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Aft>
                <a:spcPts val="1000"/>
              </a:spcAft>
            </a:pPr>
            <a:r>
              <a:rPr lang="uk-UA" altLang="ru-RU" sz="1200" b="1">
                <a:solidFill>
                  <a:srgbClr val="000000"/>
                </a:solidFill>
              </a:rPr>
              <a:t>с. Авангард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graphicFrame>
        <p:nvGraphicFramePr>
          <p:cNvPr id="12311" name="Объект 1"/>
          <p:cNvGraphicFramePr>
            <a:graphicFrameLocks noChangeAspect="1"/>
          </p:cNvGraphicFramePr>
          <p:nvPr/>
        </p:nvGraphicFramePr>
        <p:xfrm>
          <a:off x="33338" y="628650"/>
          <a:ext cx="6091237" cy="23701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7" name="Документ" r:id="rId6" imgW="6090910" imgH="2369387" progId="Word.Document.12">
                  <p:embed/>
                </p:oleObj>
              </mc:Choice>
              <mc:Fallback>
                <p:oleObj name="Документ" r:id="rId6" imgW="6090910" imgH="2369387" progId="Word.Document.12">
                  <p:embed/>
                  <p:pic>
                    <p:nvPicPr>
                      <p:cNvPr id="0" name="Объект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3338" y="628650"/>
                        <a:ext cx="6091237" cy="23701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295275" y="2987675"/>
          <a:ext cx="2598738" cy="2698750"/>
        </p:xfrm>
        <a:graphic>
          <a:graphicData uri="http://schemas.openxmlformats.org/drawingml/2006/table">
            <a:tbl>
              <a:tblPr/>
              <a:tblGrid>
                <a:gridCol w="1286375"/>
                <a:gridCol w="1312363"/>
              </a:tblGrid>
              <a:tr h="49068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Підрозділи сьогодні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400" marR="68575" marT="0" marB="0">
                    <a:lnL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Населення сьогодні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400" marR="68575" marT="0" marB="0">
                    <a:lnL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34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. №</a:t>
                      </a:r>
                      <a:r>
                        <a:rPr lang="en-US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1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400" marR="68575" marT="0" marB="0">
                    <a:lnL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14821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400" marR="68575" marT="0" marB="0">
                    <a:lnL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34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. №2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400" marR="68575" marT="0" marB="0">
                    <a:lnL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6572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400" marR="68575" marT="0" marB="0">
                    <a:lnL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34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. №3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400" marR="68575" marT="0" marB="0">
                    <a:lnL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10806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400" marR="68575" marT="0" marB="0">
                    <a:lnL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34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. №4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400" marR="68575" marT="0" marB="0">
                    <a:lnL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28578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400" marR="68575" marT="0" marB="0">
                    <a:lnL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34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. №5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400" marR="68575" marT="0" marB="0">
                    <a:lnL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11040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400" marR="68575" marT="0" marB="0">
                    <a:lnL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34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. №6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400" marR="68575" marT="0" marB="0">
                    <a:lnL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20013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400" marR="68575" marT="0" marB="0">
                    <a:lnL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34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. №7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400" marR="68575" marT="0" marB="0">
                    <a:lnL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1549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400" marR="68575" marT="0" marB="0">
                    <a:lnL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34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. №8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400" marR="68575" marT="0" marB="0">
                    <a:lnL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2082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400" marR="68575" marT="0" marB="0">
                    <a:lnL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34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. №9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400" marR="68575" marT="0" marB="0">
                    <a:lnL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10001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5400" marR="68575" marT="0" marB="0">
                    <a:lnL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1" descr="Ингулец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675" y="620713"/>
            <a:ext cx="6126163" cy="6237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5" name="Oval 2"/>
          <p:cNvSpPr>
            <a:spLocks noChangeArrowheads="1"/>
          </p:cNvSpPr>
          <p:nvPr/>
        </p:nvSpPr>
        <p:spPr bwMode="auto">
          <a:xfrm>
            <a:off x="5076825" y="1008063"/>
            <a:ext cx="412750" cy="333375"/>
          </a:xfrm>
          <a:prstGeom prst="ellipse">
            <a:avLst/>
          </a:prstGeom>
          <a:solidFill>
            <a:srgbClr val="FFFFFF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uk-UA" altLang="ru-RU" sz="1200" b="1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1</a:t>
            </a:r>
          </a:p>
        </p:txBody>
      </p:sp>
      <p:sp>
        <p:nvSpPr>
          <p:cNvPr id="13316" name="Rectangle 14"/>
          <p:cNvSpPr>
            <a:spLocks noChangeArrowheads="1"/>
          </p:cNvSpPr>
          <p:nvPr/>
        </p:nvSpPr>
        <p:spPr bwMode="auto">
          <a:xfrm>
            <a:off x="-30163" y="-26988"/>
            <a:ext cx="185738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13317" name="Rectangle 21"/>
          <p:cNvSpPr>
            <a:spLocks noChangeArrowheads="1"/>
          </p:cNvSpPr>
          <p:nvPr/>
        </p:nvSpPr>
        <p:spPr bwMode="auto">
          <a:xfrm>
            <a:off x="-30163" y="131763"/>
            <a:ext cx="185738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13318" name="Oval 13"/>
          <p:cNvSpPr>
            <a:spLocks noChangeArrowheads="1"/>
          </p:cNvSpPr>
          <p:nvPr/>
        </p:nvSpPr>
        <p:spPr bwMode="auto">
          <a:xfrm>
            <a:off x="5076825" y="3965575"/>
            <a:ext cx="412750" cy="400050"/>
          </a:xfrm>
          <a:prstGeom prst="ellipse">
            <a:avLst/>
          </a:prstGeom>
          <a:solidFill>
            <a:srgbClr val="FF0000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Aft>
                <a:spcPts val="1000"/>
              </a:spcAft>
            </a:pPr>
            <a:r>
              <a:rPr lang="uk-UA" altLang="ru-RU" sz="1200" b="1">
                <a:solidFill>
                  <a:srgbClr val="000000"/>
                </a:solidFill>
              </a:rPr>
              <a:t>3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3319" name="Oval 13"/>
          <p:cNvSpPr>
            <a:spLocks noChangeArrowheads="1"/>
          </p:cNvSpPr>
          <p:nvPr/>
        </p:nvSpPr>
        <p:spPr bwMode="auto">
          <a:xfrm>
            <a:off x="6804025" y="5529263"/>
            <a:ext cx="412750" cy="347662"/>
          </a:xfrm>
          <a:prstGeom prst="ellipse">
            <a:avLst/>
          </a:prstGeom>
          <a:solidFill>
            <a:schemeClr val="bg1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Aft>
                <a:spcPts val="1000"/>
              </a:spcAft>
            </a:pPr>
            <a:r>
              <a:rPr lang="uk-UA" altLang="ru-RU" sz="1200" b="1">
                <a:solidFill>
                  <a:srgbClr val="000000"/>
                </a:solidFill>
              </a:rPr>
              <a:t>2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graphicFrame>
        <p:nvGraphicFramePr>
          <p:cNvPr id="12" name="Таблица 11"/>
          <p:cNvGraphicFramePr>
            <a:graphicFrameLocks noGrp="1"/>
          </p:cNvGraphicFramePr>
          <p:nvPr/>
        </p:nvGraphicFramePr>
        <p:xfrm>
          <a:off x="-39599" y="0"/>
          <a:ext cx="9144000" cy="731520"/>
        </p:xfrm>
        <a:graphic>
          <a:graphicData uri="http://schemas.openxmlformats.org/drawingml/2006/table">
            <a:tbl>
              <a:tblPr/>
              <a:tblGrid>
                <a:gridCol w="9144000"/>
              </a:tblGrid>
              <a:tr h="47873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Комунальна установа «Центр первинної медико-санітарної допомоги №</a:t>
                      </a:r>
                      <a:r>
                        <a:rPr kumimoji="0" lang="en-US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7</a:t>
                      </a:r>
                      <a:r>
                        <a:rPr kumimoji="0" lang="uk-UA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» </a:t>
                      </a:r>
                      <a:r>
                        <a:rPr lang="uk-UA" sz="2400" b="1" dirty="0" smtClean="0">
                          <a:effectLst/>
                          <a:latin typeface="+mn-lt"/>
                          <a:ea typeface="Calibri"/>
                        </a:rPr>
                        <a:t>Населення – 38 039 осіб</a:t>
                      </a:r>
                      <a:endParaRPr kumimoji="0" lang="ru-RU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8488C4">
                            <a:alpha val="89000"/>
                          </a:srgbClr>
                        </a:gs>
                        <a:gs pos="53000">
                          <a:srgbClr val="D4DEFF"/>
                        </a:gs>
                        <a:gs pos="83000">
                          <a:srgbClr val="D4DEFF"/>
                        </a:gs>
                        <a:gs pos="100000">
                          <a:srgbClr val="96AB94"/>
                        </a:gs>
                      </a:gsLst>
                      <a:lin ang="5400000" scaled="0"/>
                    </a:gradFill>
                  </a:tcPr>
                </a:tc>
              </a:tr>
            </a:tbl>
          </a:graphicData>
        </a:graphic>
      </p:graphicFrame>
      <p:graphicFrame>
        <p:nvGraphicFramePr>
          <p:cNvPr id="3" name="Таблица 2"/>
          <p:cNvGraphicFramePr>
            <a:graphicFrameLocks noGrp="1"/>
          </p:cNvGraphicFramePr>
          <p:nvPr/>
        </p:nvGraphicFramePr>
        <p:xfrm>
          <a:off x="157163" y="3003550"/>
          <a:ext cx="2398712" cy="735013"/>
        </p:xfrm>
        <a:graphic>
          <a:graphicData uri="http://schemas.openxmlformats.org/drawingml/2006/table">
            <a:tbl>
              <a:tblPr firstRow="1" firstCol="1" bandRow="1"/>
              <a:tblGrid>
                <a:gridCol w="1188802"/>
                <a:gridCol w="1209910"/>
              </a:tblGrid>
              <a:tr h="49000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Підрозділи сьогодні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95" marR="6859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Населення сьогодні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95" marR="6859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00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. №1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95" marR="6859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38485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95" marR="6859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139700" y="4476750"/>
          <a:ext cx="2632075" cy="1227138"/>
        </p:xfrm>
        <a:graphic>
          <a:graphicData uri="http://schemas.openxmlformats.org/drawingml/2006/table">
            <a:tbl>
              <a:tblPr firstRow="1" firstCol="1" bandRow="1"/>
              <a:tblGrid>
                <a:gridCol w="1304457"/>
                <a:gridCol w="1327618"/>
              </a:tblGrid>
              <a:tr h="49085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Підрозділи у майбутньому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97" marR="6859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Населення у майбутньому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97" marR="6859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42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. №1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97" marR="6859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18 тис.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97" marR="6859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42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. №2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97" marR="6859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18 тис.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97" marR="6859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42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. №3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97" marR="6859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До 2 тис.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97" marR="6859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3349" name="Объект 4"/>
          <p:cNvGraphicFramePr>
            <a:graphicFrameLocks noChangeAspect="1"/>
          </p:cNvGraphicFramePr>
          <p:nvPr/>
        </p:nvGraphicFramePr>
        <p:xfrm>
          <a:off x="125413" y="1174750"/>
          <a:ext cx="6091237" cy="1873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0" name="Документ" r:id="rId5" imgW="6090910" imgH="1873711" progId="Word.Document.12">
                  <p:embed/>
                </p:oleObj>
              </mc:Choice>
              <mc:Fallback>
                <p:oleObj name="Документ" r:id="rId5" imgW="6090910" imgH="1873711" progId="Word.Document.12">
                  <p:embed/>
                  <p:pic>
                    <p:nvPicPr>
                      <p:cNvPr id="0" name="Объект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413" y="1174750"/>
                        <a:ext cx="6091237" cy="18732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6600" y="723900"/>
            <a:ext cx="5403850" cy="5976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39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138" y="644525"/>
            <a:ext cx="6115050" cy="6134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1" name="Таблица 10"/>
          <p:cNvGraphicFramePr>
            <a:graphicFrameLocks noGrp="1"/>
          </p:cNvGraphicFramePr>
          <p:nvPr/>
        </p:nvGraphicFramePr>
        <p:xfrm>
          <a:off x="-39599" y="0"/>
          <a:ext cx="9144000" cy="620688"/>
        </p:xfrm>
        <a:graphic>
          <a:graphicData uri="http://schemas.openxmlformats.org/drawingml/2006/table">
            <a:tbl>
              <a:tblPr/>
              <a:tblGrid>
                <a:gridCol w="9144000"/>
              </a:tblGrid>
              <a:tr h="6206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План-схема </a:t>
                      </a:r>
                      <a:r>
                        <a:rPr kumimoji="0" lang="ru-RU" sz="2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госпітальних</a:t>
                      </a:r>
                      <a:r>
                        <a:rPr kumimoji="0" lang="ru-RU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баз м. </a:t>
                      </a:r>
                      <a:r>
                        <a:rPr kumimoji="0" lang="ru-RU" sz="2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Кривий</a:t>
                      </a:r>
                      <a:r>
                        <a:rPr kumimoji="0" lang="ru-RU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 </a:t>
                      </a:r>
                      <a:r>
                        <a:rPr kumimoji="0" lang="ru-RU" sz="2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Ріг</a:t>
                      </a:r>
                      <a:endParaRPr kumimoji="0" lang="ru-RU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8488C4">
                            <a:alpha val="89000"/>
                          </a:srgbClr>
                        </a:gs>
                        <a:gs pos="53000">
                          <a:srgbClr val="D4DEFF"/>
                        </a:gs>
                        <a:gs pos="83000">
                          <a:srgbClr val="D4DEFF"/>
                        </a:gs>
                        <a:gs pos="100000">
                          <a:srgbClr val="96AB94"/>
                        </a:gs>
                      </a:gsLst>
                      <a:lin ang="5400000" scaled="0"/>
                    </a:gradFill>
                  </a:tcPr>
                </a:tc>
              </a:tr>
            </a:tbl>
          </a:graphicData>
        </a:graphic>
      </p:graphicFrame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9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Объект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363" name="Picture 2" descr="C:\Users\Alisa-TML\Desktop\Доклад для мэра\Безымянный-1.jp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955" r="27710"/>
          <a:stretch>
            <a:fillRect/>
          </a:stretch>
        </p:blipFill>
        <p:spPr bwMode="auto">
          <a:xfrm>
            <a:off x="6267450" y="0"/>
            <a:ext cx="28765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64" name="Заголовок 1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260350"/>
            <a:ext cx="6267450" cy="93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uk-UA" altLang="ru-RU" sz="2800" b="1" i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Зміни в галузі </a:t>
            </a:r>
            <a:endParaRPr lang="ru-RU" altLang="ru-RU" sz="2800" b="1" i="1">
              <a:solidFill>
                <a:srgbClr val="990099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5365" name="TextBox 18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67450" y="2349500"/>
            <a:ext cx="2876550" cy="301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prstDash val="sysDash"/>
                <a:miter lim="800000"/>
                <a:headEnd/>
                <a:tailEnd/>
              </a14:hiddenLine>
            </a:ext>
          </a:extLst>
        </p:spPr>
        <p:txBody>
          <a:bodyPr lIns="108000" tIns="108000" rIns="36000" bIns="108000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ru-RU" altLang="ru-RU" sz="2400" b="1">
                <a:solidFill>
                  <a:srgbClr val="000000"/>
                </a:solidFill>
              </a:rPr>
              <a:t>Дефіцит субвенції, яка була надана міському бюджету з державного, склав 181 млн. грн. Аналогічна ситуація склалась і в 2016 році.</a:t>
            </a:r>
          </a:p>
        </p:txBody>
      </p:sp>
      <p:pic>
        <p:nvPicPr>
          <p:cNvPr id="15366" name="Picture 3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8925" y="333375"/>
            <a:ext cx="2133600" cy="152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Заголовок 1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198438" y="1519238"/>
            <a:ext cx="5094287" cy="674687"/>
          </a:xfrm>
          <a:prstGeom prst="rect">
            <a:avLst/>
          </a:prstGeom>
        </p:spPr>
        <p:txBody>
          <a:bodyPr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auto">
              <a:spcAft>
                <a:spcPts val="0"/>
              </a:spcAft>
              <a:defRPr/>
            </a:pPr>
            <a:endParaRPr lang="uk-UA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0" y="1249363"/>
            <a:ext cx="6267450" cy="4359275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ru-RU" sz="2400" dirty="0" smtClean="0"/>
              <a:t> </a:t>
            </a:r>
            <a:r>
              <a:rPr lang="ru-RU" sz="2800" b="1" dirty="0" err="1" smtClean="0"/>
              <a:t>змінилась</a:t>
            </a:r>
            <a:r>
              <a:rPr lang="ru-RU" sz="2800" b="1" dirty="0" smtClean="0"/>
              <a:t> </a:t>
            </a:r>
            <a:r>
              <a:rPr lang="ru-RU" sz="2800" b="1" dirty="0"/>
              <a:t>система </a:t>
            </a:r>
            <a:r>
              <a:rPr lang="ru-RU" sz="2800" b="1" dirty="0" err="1"/>
              <a:t>фінансування</a:t>
            </a:r>
            <a:r>
              <a:rPr lang="ru-RU" sz="2800" b="1" dirty="0"/>
              <a:t> </a:t>
            </a:r>
            <a:r>
              <a:rPr lang="ru-RU" sz="2800" dirty="0" err="1"/>
              <a:t>закладів</a:t>
            </a:r>
            <a:r>
              <a:rPr lang="ru-RU" sz="2800" dirty="0"/>
              <a:t> </a:t>
            </a:r>
            <a:r>
              <a:rPr lang="ru-RU" sz="2800" dirty="0" err="1"/>
              <a:t>охорони</a:t>
            </a:r>
            <a:r>
              <a:rPr lang="ru-RU" sz="2800" dirty="0"/>
              <a:t> </a:t>
            </a:r>
            <a:r>
              <a:rPr lang="ru-RU" sz="2800" dirty="0" err="1"/>
              <a:t>здоров’я</a:t>
            </a:r>
            <a:r>
              <a:rPr lang="ru-RU" sz="2800" dirty="0"/>
              <a:t> з державного </a:t>
            </a:r>
            <a:r>
              <a:rPr lang="ru-RU" sz="2800" dirty="0" smtClean="0"/>
              <a:t>бюджету</a:t>
            </a:r>
            <a:endParaRPr lang="en-US" sz="2800" dirty="0" smtClean="0"/>
          </a:p>
          <a:p>
            <a:pPr marL="0" indent="0" algn="just" fontAlgn="auto">
              <a:spcAft>
                <a:spcPts val="0"/>
              </a:spcAft>
              <a:buFont typeface="Arial" pitchFamily="34" charset="0"/>
              <a:buNone/>
              <a:defRPr/>
            </a:pPr>
            <a:endParaRPr lang="ru-RU" sz="2800" dirty="0" smtClean="0"/>
          </a:p>
          <a:p>
            <a:pPr algn="just" fontAlgn="auto"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ru-RU" sz="2800" b="1" dirty="0" smtClean="0"/>
              <a:t>на </a:t>
            </a:r>
            <a:r>
              <a:rPr lang="ru-RU" sz="2800" b="1" dirty="0" err="1"/>
              <a:t>фінансування</a:t>
            </a:r>
            <a:r>
              <a:rPr lang="ru-RU" sz="2800" b="1" dirty="0"/>
              <a:t> з </a:t>
            </a:r>
            <a:r>
              <a:rPr lang="ru-RU" sz="2800" b="1" dirty="0" err="1"/>
              <a:t>міського</a:t>
            </a:r>
            <a:r>
              <a:rPr lang="ru-RU" sz="2800" b="1" dirty="0"/>
              <a:t> бюджету </a:t>
            </a:r>
            <a:r>
              <a:rPr lang="ru-RU" sz="2800" b="1" dirty="0" smtClean="0"/>
              <a:t>в 2015 </a:t>
            </a:r>
            <a:r>
              <a:rPr lang="ru-RU" sz="2800" b="1" dirty="0" err="1" smtClean="0"/>
              <a:t>роц</a:t>
            </a:r>
            <a:r>
              <a:rPr lang="uk-UA" sz="2800" b="1" dirty="0" smtClean="0"/>
              <a:t>і </a:t>
            </a:r>
            <a:r>
              <a:rPr lang="ru-RU" sz="2800" b="1" dirty="0" err="1" smtClean="0"/>
              <a:t>були</a:t>
            </a:r>
            <a:r>
              <a:rPr lang="ru-RU" sz="2800" b="1" dirty="0" smtClean="0"/>
              <a:t> </a:t>
            </a:r>
            <a:r>
              <a:rPr lang="ru-RU" sz="2800" b="1" dirty="0" err="1"/>
              <a:t>передані</a:t>
            </a:r>
            <a:r>
              <a:rPr lang="ru-RU" sz="2800" b="1" dirty="0"/>
              <a:t> 27 </a:t>
            </a:r>
            <a:r>
              <a:rPr lang="ru-RU" sz="2800" b="1" dirty="0" err="1"/>
              <a:t>закладів</a:t>
            </a:r>
            <a:r>
              <a:rPr lang="ru-RU" sz="2800" dirty="0"/>
              <a:t>, </a:t>
            </a:r>
            <a:r>
              <a:rPr lang="ru-RU" sz="2800" dirty="0" err="1"/>
              <a:t>що</a:t>
            </a:r>
            <a:r>
              <a:rPr lang="ru-RU" sz="2800" dirty="0"/>
              <a:t> </a:t>
            </a:r>
            <a:r>
              <a:rPr lang="ru-RU" sz="2800" dirty="0" err="1"/>
              <a:t>надають</a:t>
            </a:r>
            <a:r>
              <a:rPr lang="ru-RU" sz="2800" dirty="0"/>
              <a:t> </a:t>
            </a:r>
            <a:r>
              <a:rPr lang="ru-RU" sz="2800" dirty="0" err="1"/>
              <a:t>вторинну</a:t>
            </a:r>
            <a:r>
              <a:rPr lang="ru-RU" sz="2800" dirty="0"/>
              <a:t> </a:t>
            </a:r>
            <a:r>
              <a:rPr lang="ru-RU" sz="2800" dirty="0" err="1"/>
              <a:t>медичну</a:t>
            </a:r>
            <a:r>
              <a:rPr lang="ru-RU" sz="2800" dirty="0"/>
              <a:t> </a:t>
            </a:r>
            <a:r>
              <a:rPr lang="ru-RU" sz="2800" dirty="0" err="1"/>
              <a:t>допомогу</a:t>
            </a:r>
            <a:r>
              <a:rPr lang="ru-RU" sz="2800" dirty="0"/>
              <a:t> та </a:t>
            </a:r>
            <a:r>
              <a:rPr lang="ru-RU" sz="2800" b="1" dirty="0"/>
              <a:t>1 </a:t>
            </a:r>
            <a:r>
              <a:rPr lang="ru-RU" sz="2800" b="1" dirty="0" err="1"/>
              <a:t>відомчий</a:t>
            </a:r>
            <a:r>
              <a:rPr lang="ru-RU" sz="2800" b="1" dirty="0"/>
              <a:t> заклад</a:t>
            </a:r>
            <a:r>
              <a:rPr lang="ru-RU" sz="2800" dirty="0"/>
              <a:t> – відділкова </a:t>
            </a:r>
            <a:r>
              <a:rPr lang="ru-RU" sz="2800" dirty="0" err="1"/>
              <a:t>лікарня</a:t>
            </a:r>
            <a:r>
              <a:rPr lang="ru-RU" sz="2800" dirty="0"/>
              <a:t> </a:t>
            </a:r>
            <a:r>
              <a:rPr lang="ru-RU" sz="2800" dirty="0" err="1"/>
              <a:t>Придніпровської</a:t>
            </a:r>
            <a:r>
              <a:rPr lang="ru-RU" sz="2800" dirty="0"/>
              <a:t> </a:t>
            </a:r>
            <a:r>
              <a:rPr lang="ru-RU" sz="2800" dirty="0" err="1"/>
              <a:t>залізниці</a:t>
            </a:r>
            <a:r>
              <a:rPr lang="ru-RU" sz="2800" dirty="0"/>
              <a:t> без </a:t>
            </a:r>
            <a:r>
              <a:rPr lang="ru-RU" sz="2800" dirty="0" err="1"/>
              <a:t>зміни</a:t>
            </a:r>
            <a:r>
              <a:rPr lang="ru-RU" sz="2800" dirty="0"/>
              <a:t> </a:t>
            </a:r>
            <a:r>
              <a:rPr lang="ru-RU" sz="2800" dirty="0" err="1"/>
              <a:t>форми</a:t>
            </a:r>
            <a:r>
              <a:rPr lang="ru-RU" sz="2800" dirty="0"/>
              <a:t> </a:t>
            </a:r>
            <a:r>
              <a:rPr lang="ru-RU" sz="2800" dirty="0" err="1" smtClean="0"/>
              <a:t>власності</a:t>
            </a:r>
            <a:endParaRPr lang="ru-RU" sz="2800" dirty="0" smtClean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386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3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Объект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87" name="Picture 2" descr="C:\Users\Alisa-TML\Desktop\Доклад для мэра\Безымянный-1.jp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955" r="27710"/>
          <a:stretch>
            <a:fillRect/>
          </a:stretch>
        </p:blipFill>
        <p:spPr bwMode="auto">
          <a:xfrm>
            <a:off x="6267450" y="0"/>
            <a:ext cx="28765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388" name="Заголовок 1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333375"/>
            <a:ext cx="6267450" cy="1257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ru-RU" altLang="ru-RU" sz="2800" b="1" i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Рішення</a:t>
            </a:r>
          </a:p>
          <a:p>
            <a:pPr algn="ctr"/>
            <a:r>
              <a:rPr lang="ru-RU" altLang="ru-RU" sz="2800" b="1" i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виконавчої влади</a:t>
            </a:r>
          </a:p>
        </p:txBody>
      </p:sp>
      <p:sp>
        <p:nvSpPr>
          <p:cNvPr id="16389" name="TextBox 18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67450" y="2568575"/>
            <a:ext cx="2876550" cy="3021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prstDash val="sysDash"/>
                <a:miter lim="800000"/>
                <a:headEnd/>
                <a:tailEnd/>
              </a14:hiddenLine>
            </a:ext>
          </a:extLst>
        </p:spPr>
        <p:txBody>
          <a:bodyPr lIns="108000" tIns="108000" rIns="36000" bIns="108000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uk-UA" altLang="ru-RU" sz="2400" b="1">
                <a:solidFill>
                  <a:srgbClr val="000000"/>
                </a:solidFill>
              </a:rPr>
              <a:t>Дозволило зберегти  штат працівників лікарень – </a:t>
            </a:r>
          </a:p>
          <a:p>
            <a:r>
              <a:rPr lang="uk-UA" altLang="ru-RU" sz="2400" b="1">
                <a:solidFill>
                  <a:srgbClr val="000000"/>
                </a:solidFill>
              </a:rPr>
              <a:t>більше 9 тис. осіб</a:t>
            </a:r>
          </a:p>
        </p:txBody>
      </p:sp>
      <p:pic>
        <p:nvPicPr>
          <p:cNvPr id="16390" name="Picture 3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8925" y="333375"/>
            <a:ext cx="2133600" cy="152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Заголовок 1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198438" y="1519238"/>
            <a:ext cx="5094287" cy="674687"/>
          </a:xfrm>
          <a:prstGeom prst="rect">
            <a:avLst/>
          </a:prstGeom>
        </p:spPr>
        <p:txBody>
          <a:bodyPr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auto">
              <a:spcAft>
                <a:spcPts val="0"/>
              </a:spcAft>
              <a:defRPr/>
            </a:pPr>
            <a:endParaRPr lang="uk-UA" sz="12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0" y="1989138"/>
            <a:ext cx="6267450" cy="4032250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ru-RU" sz="2400" dirty="0"/>
              <a:t> </a:t>
            </a:r>
            <a:r>
              <a:rPr lang="uk-UA" sz="2800" dirty="0" smtClean="0"/>
              <a:t>проведення основних виплат та виплату індексації працівникам закладів охорони здоров’я на суму </a:t>
            </a:r>
            <a:r>
              <a:rPr lang="uk-UA" sz="2800" b="1" dirty="0" smtClean="0"/>
              <a:t>36,9 млн. грн</a:t>
            </a:r>
            <a:r>
              <a:rPr lang="uk-UA" sz="2800" dirty="0" smtClean="0"/>
              <a:t>.;</a:t>
            </a:r>
          </a:p>
          <a:p>
            <a:pPr algn="just" fontAlgn="auto"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uk-UA" sz="2800" dirty="0" smtClean="0"/>
              <a:t> проведення виплат надбавок за обсяг та якість роботи медичних працівників загальної практики-сімейної медицини у сумі </a:t>
            </a:r>
            <a:r>
              <a:rPr lang="uk-UA" sz="2800" b="1" dirty="0" smtClean="0"/>
              <a:t>5,1 млн. грн. </a:t>
            </a:r>
          </a:p>
          <a:p>
            <a:pPr marL="0" indent="0" algn="just" fontAlgn="auto">
              <a:spcAft>
                <a:spcPts val="0"/>
              </a:spcAft>
              <a:buFont typeface="Arial" pitchFamily="34" charset="0"/>
              <a:buNone/>
              <a:defRPr/>
            </a:pPr>
            <a:endParaRPr lang="ru-RU" sz="2400" dirty="0" smtClean="0"/>
          </a:p>
          <a:p>
            <a:pPr marL="0" indent="0" algn="just" fontAlgn="auto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2400" dirty="0" smtClean="0"/>
              <a:t>	</a:t>
            </a:r>
            <a:endParaRPr lang="ru-RU" sz="2400" b="1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410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6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Объект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411" name="Picture 2" descr="C:\Users\Alisa-TML\Desktop\Доклад для мэра\Безымянный-1.jp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955" r="27710"/>
          <a:stretch>
            <a:fillRect/>
          </a:stretch>
        </p:blipFill>
        <p:spPr bwMode="auto">
          <a:xfrm>
            <a:off x="6267450" y="0"/>
            <a:ext cx="28765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412" name="Заголовок 1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28575" y="714375"/>
            <a:ext cx="6238875" cy="542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/>
            <a:r>
              <a:rPr lang="ru-RU" altLang="ru-RU" sz="2800" i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При виконанні постанови Кабінету Міністрів України №1024 від 25.11.2015 року  «Про доведення ліжкового фонду медичних закладів до нормативу 60 ліжок на 10 тисяч населення», в лікувальних закладах міста необхідно скоротити </a:t>
            </a:r>
            <a:r>
              <a:rPr lang="ru-RU" altLang="ru-RU" sz="2800" b="1" i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1392 ліжка або 5 лікарень </a:t>
            </a:r>
            <a:r>
              <a:rPr lang="ru-RU" altLang="ru-RU" sz="2800" i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середньої потужності та </a:t>
            </a:r>
            <a:r>
              <a:rPr lang="ru-RU" altLang="ru-RU" sz="2800" b="1" i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понад</a:t>
            </a:r>
            <a:r>
              <a:rPr lang="en-US" altLang="ru-RU" sz="2800" b="1" i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altLang="ru-RU" sz="2800" b="1" i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2 тисячі</a:t>
            </a:r>
            <a:r>
              <a:rPr lang="en-US" altLang="ru-RU" sz="2800" b="1" i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altLang="ru-RU" sz="2800" b="1" i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 штатних посад.</a:t>
            </a:r>
            <a:endParaRPr lang="uk-UA" altLang="ru-RU" sz="2800" b="1" i="1">
              <a:solidFill>
                <a:srgbClr val="990099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7413" name="TextBox 18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67450" y="1857375"/>
            <a:ext cx="2876550" cy="404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prstDash val="sysDash"/>
                <a:miter lim="800000"/>
                <a:headEnd/>
                <a:tailEnd/>
              </a14:hiddenLine>
            </a:ext>
          </a:extLst>
        </p:spPr>
        <p:txBody>
          <a:bodyPr lIns="108000" tIns="108000" rIns="36000" bIns="108000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ru-RU" altLang="ru-RU" sz="2800" b="1">
                <a:solidFill>
                  <a:srgbClr val="000000"/>
                </a:solidFill>
              </a:rPr>
              <a:t>Ліжковий фонд -5 286 ліжок. Показник забезпеченості ліжками - 81,4 на 10 тис. населення (79,8 у 2014 році)</a:t>
            </a:r>
            <a:endParaRPr lang="uk-UA" altLang="ru-RU" sz="2800" b="1">
              <a:solidFill>
                <a:srgbClr val="000000"/>
              </a:solidFill>
            </a:endParaRPr>
          </a:p>
        </p:txBody>
      </p:sp>
      <p:pic>
        <p:nvPicPr>
          <p:cNvPr id="17414" name="Picture 3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8925" y="333375"/>
            <a:ext cx="2133600" cy="152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Заголовок 1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198438" y="1519238"/>
            <a:ext cx="5094287" cy="674687"/>
          </a:xfrm>
          <a:prstGeom prst="rect">
            <a:avLst/>
          </a:prstGeom>
        </p:spPr>
        <p:txBody>
          <a:bodyPr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auto">
              <a:spcAft>
                <a:spcPts val="0"/>
              </a:spcAft>
              <a:defRPr/>
            </a:pPr>
            <a:endParaRPr lang="uk-UA" sz="12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434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1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Объект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435" name="Picture 2" descr="C:\Users\Alisa-TML\Desktop\Доклад для мэра\Безымянный-1.jp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955" r="27710"/>
          <a:stretch>
            <a:fillRect/>
          </a:stretch>
        </p:blipFill>
        <p:spPr bwMode="auto">
          <a:xfrm>
            <a:off x="6267450" y="0"/>
            <a:ext cx="28765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36" name="Заголовок 1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25400"/>
            <a:ext cx="6443663" cy="739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ru-RU" altLang="ru-RU" sz="2800" b="1" i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Напрям: «Реформування галузі»</a:t>
            </a:r>
          </a:p>
        </p:txBody>
      </p:sp>
      <p:sp>
        <p:nvSpPr>
          <p:cNvPr id="18437" name="TextBox 18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67450" y="2568575"/>
            <a:ext cx="2876550" cy="3021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prstDash val="sysDash"/>
                <a:miter lim="800000"/>
                <a:headEnd/>
                <a:tailEnd/>
              </a14:hiddenLine>
            </a:ext>
          </a:extLst>
        </p:spPr>
        <p:txBody>
          <a:bodyPr lIns="108000" tIns="108000" rIns="36000" bIns="108000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ru-RU" altLang="ru-RU" sz="2800" b="1">
                <a:solidFill>
                  <a:srgbClr val="000000"/>
                </a:solidFill>
              </a:rPr>
              <a:t>Міська міжгалузева комплексна програма «Здоров’я нації» </a:t>
            </a:r>
            <a:endParaRPr lang="uk-UA" altLang="ru-RU" sz="2800" b="1">
              <a:solidFill>
                <a:srgbClr val="000000"/>
              </a:solidFill>
            </a:endParaRPr>
          </a:p>
        </p:txBody>
      </p:sp>
      <p:pic>
        <p:nvPicPr>
          <p:cNvPr id="18438" name="Picture 3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8925" y="333375"/>
            <a:ext cx="2133600" cy="152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Заголовок 1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198438" y="1519238"/>
            <a:ext cx="5094287" cy="674687"/>
          </a:xfrm>
          <a:prstGeom prst="rect">
            <a:avLst/>
          </a:prstGeom>
        </p:spPr>
        <p:txBody>
          <a:bodyPr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auto">
              <a:spcAft>
                <a:spcPts val="0"/>
              </a:spcAft>
              <a:defRPr/>
            </a:pPr>
            <a:endParaRPr lang="uk-UA" sz="12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0" y="765175"/>
            <a:ext cx="6267450" cy="6408738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uk-UA" sz="2600" dirty="0" smtClean="0"/>
              <a:t>на  </a:t>
            </a:r>
            <a:r>
              <a:rPr lang="uk-UA" sz="2600" dirty="0"/>
              <a:t>капітальний ремонт </a:t>
            </a:r>
            <a:r>
              <a:rPr lang="uk-UA" sz="2600" dirty="0" smtClean="0"/>
              <a:t>медичного обладнання; </a:t>
            </a:r>
            <a:endParaRPr lang="uk-UA" sz="2600" dirty="0"/>
          </a:p>
          <a:p>
            <a:pPr algn="just" fontAlgn="auto"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uk-UA" sz="2600" dirty="0" smtClean="0"/>
              <a:t>на </a:t>
            </a:r>
            <a:r>
              <a:rPr lang="uk-UA" sz="2600" dirty="0"/>
              <a:t>придбання обладнання в центри первинної медико-санітарної допомоги для </a:t>
            </a:r>
            <a:r>
              <a:rPr lang="uk-UA" sz="2600" dirty="0" err="1"/>
              <a:t>дооснащення</a:t>
            </a:r>
            <a:r>
              <a:rPr lang="uk-UA" sz="2600" dirty="0"/>
              <a:t> амбулаторій загальної практики-сімейної медицини; </a:t>
            </a:r>
          </a:p>
          <a:p>
            <a:pPr algn="just" fontAlgn="auto"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uk-UA" sz="2600" dirty="0" smtClean="0"/>
              <a:t>на </a:t>
            </a:r>
            <a:r>
              <a:rPr lang="uk-UA" sz="2600" dirty="0"/>
              <a:t>придбання обладнання в лікувально-профілактичні заклади, що надають вторинну медичну допомогу; </a:t>
            </a:r>
          </a:p>
          <a:p>
            <a:pPr algn="just" fontAlgn="auto"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uk-UA" sz="2600" dirty="0" smtClean="0"/>
              <a:t>на </a:t>
            </a:r>
            <a:r>
              <a:rPr lang="uk-UA" sz="2600" dirty="0"/>
              <a:t>виготовлення проектно-кошторисної документації, проходження експертизи та проведення капітальних ремонтів медичних закладів міста.</a:t>
            </a:r>
          </a:p>
          <a:p>
            <a:pPr marL="0" indent="0" algn="just" fontAlgn="auto">
              <a:spcAft>
                <a:spcPts val="0"/>
              </a:spcAft>
              <a:buFont typeface="Arial" pitchFamily="34" charset="0"/>
              <a:buNone/>
              <a:defRPr/>
            </a:pPr>
            <a:endParaRPr lang="ru-RU" sz="2400" dirty="0" smtClean="0"/>
          </a:p>
          <a:p>
            <a:pPr marL="0" indent="0" algn="just" fontAlgn="auto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ru-RU" sz="2400" dirty="0" smtClean="0"/>
              <a:t>	</a:t>
            </a:r>
            <a:endParaRPr lang="ru-RU" sz="2400" b="1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58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5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Объект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459" name="Picture 2" descr="C:\Users\Alisa-TML\Desktop\Доклад для мэра\Безымянный-1.jp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955" r="27710"/>
          <a:stretch>
            <a:fillRect/>
          </a:stretch>
        </p:blipFill>
        <p:spPr bwMode="auto">
          <a:xfrm>
            <a:off x="6267450" y="0"/>
            <a:ext cx="28765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460" name="Заголовок 1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333375"/>
            <a:ext cx="6443663" cy="138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ru-RU" altLang="ru-RU" sz="2800" b="1" i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Напрям: «Боротьба з соціально-небезпечними хворобами (ВІЛ/СНІД та туберкульоз)»</a:t>
            </a:r>
          </a:p>
        </p:txBody>
      </p:sp>
      <p:sp>
        <p:nvSpPr>
          <p:cNvPr id="19461" name="TextBox 18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67450" y="2568575"/>
            <a:ext cx="2876550" cy="3021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prstDash val="sysDash"/>
                <a:miter lim="800000"/>
                <a:headEnd/>
                <a:tailEnd/>
              </a14:hiddenLine>
            </a:ext>
          </a:extLst>
        </p:spPr>
        <p:txBody>
          <a:bodyPr lIns="108000" tIns="108000" rIns="36000" bIns="108000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ru-RU" altLang="ru-RU" sz="2800" b="1">
                <a:solidFill>
                  <a:srgbClr val="000000"/>
                </a:solidFill>
              </a:rPr>
              <a:t>Міська міжгалузева комплексна програма «Здоров’я нації» </a:t>
            </a:r>
            <a:endParaRPr lang="uk-UA" altLang="ru-RU" sz="2800" b="1">
              <a:solidFill>
                <a:srgbClr val="000000"/>
              </a:solidFill>
            </a:endParaRPr>
          </a:p>
        </p:txBody>
      </p:sp>
      <p:pic>
        <p:nvPicPr>
          <p:cNvPr id="19462" name="Picture 3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8925" y="333375"/>
            <a:ext cx="2133600" cy="152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Заголовок 1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198438" y="1519238"/>
            <a:ext cx="5094287" cy="674687"/>
          </a:xfrm>
          <a:prstGeom prst="rect">
            <a:avLst/>
          </a:prstGeom>
        </p:spPr>
        <p:txBody>
          <a:bodyPr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auto">
              <a:spcAft>
                <a:spcPts val="0"/>
              </a:spcAft>
              <a:defRPr/>
            </a:pPr>
            <a:endParaRPr lang="uk-UA" sz="12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9464" name="Объект 1"/>
          <p:cNvSpPr>
            <a:spLocks noGrp="1"/>
          </p:cNvSpPr>
          <p:nvPr>
            <p:ph idx="1"/>
          </p:nvPr>
        </p:nvSpPr>
        <p:spPr>
          <a:xfrm>
            <a:off x="0" y="2081213"/>
            <a:ext cx="6267450" cy="4784725"/>
          </a:xfrm>
        </p:spPr>
        <p:txBody>
          <a:bodyPr/>
          <a:lstStyle/>
          <a:p>
            <a:pPr algn="just">
              <a:buFont typeface="Wingdings" pitchFamily="2" charset="2"/>
              <a:buChar char="q"/>
            </a:pPr>
            <a:r>
              <a:rPr lang="ru-RU" altLang="ru-RU" sz="2600" smtClean="0"/>
              <a:t>на придбання препарату «туберкулін» для проведення туберкулінодіагностики дитячого населення міста; </a:t>
            </a:r>
          </a:p>
          <a:p>
            <a:pPr algn="just">
              <a:buFont typeface="Wingdings" pitchFamily="2" charset="2"/>
              <a:buChar char="q"/>
            </a:pPr>
            <a:r>
              <a:rPr lang="ru-RU" altLang="ru-RU" sz="2600" smtClean="0"/>
              <a:t>на забезпечення молочними сумішами дітей, народжених ВІЛ-інфікованими матерями, та дитей з малозабезпечених сімей продуктами харчування; </a:t>
            </a:r>
          </a:p>
          <a:p>
            <a:pPr algn="just">
              <a:buFont typeface="Wingdings" pitchFamily="2" charset="2"/>
              <a:buChar char="q"/>
            </a:pPr>
            <a:r>
              <a:rPr lang="ru-RU" altLang="ru-RU" sz="2600" smtClean="0"/>
              <a:t>на забезпечення продуктовими наборами для хворих на туберкульоз, які проходять амбулаторне лікування.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482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9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Объект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483" name="Picture 2" descr="C:\Users\Alisa-TML\Desktop\Доклад для мэра\Безымянный-1.jp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955" r="27710"/>
          <a:stretch>
            <a:fillRect/>
          </a:stretch>
        </p:blipFill>
        <p:spPr bwMode="auto">
          <a:xfrm>
            <a:off x="6267450" y="0"/>
            <a:ext cx="28765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84" name="Заголовок 1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-9525" y="469900"/>
            <a:ext cx="6443663" cy="138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uk-UA" altLang="ru-RU" sz="2800" b="1" i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Напрям: «Охорона материнства та дитинства»</a:t>
            </a:r>
          </a:p>
        </p:txBody>
      </p:sp>
      <p:sp>
        <p:nvSpPr>
          <p:cNvPr id="20485" name="TextBox 18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67450" y="2568575"/>
            <a:ext cx="2876550" cy="3021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prstDash val="sysDash"/>
                <a:miter lim="800000"/>
                <a:headEnd/>
                <a:tailEnd/>
              </a14:hiddenLine>
            </a:ext>
          </a:extLst>
        </p:spPr>
        <p:txBody>
          <a:bodyPr lIns="108000" tIns="108000" rIns="36000" bIns="108000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ru-RU" altLang="ru-RU" sz="2800" b="1">
                <a:solidFill>
                  <a:srgbClr val="000000"/>
                </a:solidFill>
              </a:rPr>
              <a:t>Міська міжгалузева комплексна програма «Здоров’я нації» </a:t>
            </a:r>
            <a:endParaRPr lang="uk-UA" altLang="ru-RU" sz="2800" b="1">
              <a:solidFill>
                <a:srgbClr val="000000"/>
              </a:solidFill>
            </a:endParaRPr>
          </a:p>
        </p:txBody>
      </p:sp>
      <p:pic>
        <p:nvPicPr>
          <p:cNvPr id="20486" name="Picture 3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8925" y="333375"/>
            <a:ext cx="2133600" cy="152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Заголовок 1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198438" y="1519238"/>
            <a:ext cx="5094287" cy="674687"/>
          </a:xfrm>
          <a:prstGeom prst="rect">
            <a:avLst/>
          </a:prstGeom>
        </p:spPr>
        <p:txBody>
          <a:bodyPr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auto">
              <a:spcAft>
                <a:spcPts val="0"/>
              </a:spcAft>
              <a:defRPr/>
            </a:pPr>
            <a:endParaRPr lang="uk-UA" sz="12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0" y="2263775"/>
            <a:ext cx="6267450" cy="3630613"/>
          </a:xfrm>
        </p:spPr>
        <p:txBody>
          <a:bodyPr rtlCol="0">
            <a:noAutofit/>
          </a:bodyPr>
          <a:lstStyle/>
          <a:p>
            <a:pPr algn="just" fontAlgn="auto"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ru-RU" sz="2600" dirty="0" smtClean="0"/>
              <a:t>на </a:t>
            </a:r>
            <a:r>
              <a:rPr lang="ru-RU" sz="2600" dirty="0" err="1"/>
              <a:t>забезпечення</a:t>
            </a:r>
            <a:r>
              <a:rPr lang="ru-RU" sz="2600" dirty="0"/>
              <a:t> </a:t>
            </a:r>
            <a:r>
              <a:rPr lang="ru-RU" sz="2600" dirty="0" err="1"/>
              <a:t>лікувальним</a:t>
            </a:r>
            <a:r>
              <a:rPr lang="ru-RU" sz="2600" dirty="0"/>
              <a:t> </a:t>
            </a:r>
            <a:r>
              <a:rPr lang="ru-RU" sz="2600" dirty="0" err="1"/>
              <a:t>харчуванням</a:t>
            </a:r>
            <a:r>
              <a:rPr lang="ru-RU" sz="2600" dirty="0"/>
              <a:t> </a:t>
            </a:r>
            <a:r>
              <a:rPr lang="ru-RU" sz="2600" dirty="0" err="1" smtClean="0"/>
              <a:t>осіб</a:t>
            </a:r>
            <a:r>
              <a:rPr lang="ru-RU" sz="2600" dirty="0" smtClean="0"/>
              <a:t> </a:t>
            </a:r>
            <a:r>
              <a:rPr lang="ru-RU" sz="2600" dirty="0" err="1"/>
              <a:t>хворих</a:t>
            </a:r>
            <a:r>
              <a:rPr lang="ru-RU" sz="2600" dirty="0"/>
              <a:t> на </a:t>
            </a:r>
            <a:r>
              <a:rPr lang="ru-RU" sz="2600" dirty="0" err="1"/>
              <a:t>фенілкетонурію</a:t>
            </a:r>
            <a:r>
              <a:rPr lang="ru-RU" sz="2600" dirty="0"/>
              <a:t>; </a:t>
            </a:r>
            <a:endParaRPr lang="ru-RU" sz="2600" dirty="0" smtClean="0"/>
          </a:p>
          <a:p>
            <a:pPr marL="0" indent="0" algn="just" fontAlgn="auto">
              <a:spcAft>
                <a:spcPts val="0"/>
              </a:spcAft>
              <a:buFont typeface="Arial" pitchFamily="34" charset="0"/>
              <a:buNone/>
              <a:defRPr/>
            </a:pPr>
            <a:endParaRPr lang="ru-RU" sz="2600" dirty="0"/>
          </a:p>
          <a:p>
            <a:pPr algn="just" fontAlgn="auto"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ru-RU" sz="2600" dirty="0" smtClean="0"/>
              <a:t>на </a:t>
            </a:r>
            <a:r>
              <a:rPr lang="ru-RU" sz="2600" dirty="0" err="1"/>
              <a:t>виписку</a:t>
            </a:r>
            <a:r>
              <a:rPr lang="ru-RU" sz="2600" dirty="0"/>
              <a:t> </a:t>
            </a:r>
            <a:r>
              <a:rPr lang="ru-RU" sz="2600" dirty="0" err="1" smtClean="0"/>
              <a:t>рецептів</a:t>
            </a:r>
            <a:r>
              <a:rPr lang="ru-RU" sz="2600" dirty="0" smtClean="0"/>
              <a:t> </a:t>
            </a:r>
            <a:r>
              <a:rPr lang="ru-RU" sz="2600" dirty="0"/>
              <a:t>для </a:t>
            </a:r>
            <a:r>
              <a:rPr lang="ru-RU" sz="2600" dirty="0" err="1"/>
              <a:t>забезпечення</a:t>
            </a:r>
            <a:r>
              <a:rPr lang="ru-RU" sz="2600" dirty="0"/>
              <a:t> </a:t>
            </a:r>
            <a:r>
              <a:rPr lang="ru-RU" sz="2600" dirty="0" err="1"/>
              <a:t>безкоштовними</a:t>
            </a:r>
            <a:r>
              <a:rPr lang="ru-RU" sz="2600" dirty="0"/>
              <a:t> </a:t>
            </a:r>
            <a:r>
              <a:rPr lang="ru-RU" sz="2600" dirty="0" smtClean="0"/>
              <a:t>медикаментами </a:t>
            </a:r>
            <a:r>
              <a:rPr lang="ru-RU" sz="2600" dirty="0" err="1"/>
              <a:t>дітей</a:t>
            </a:r>
            <a:r>
              <a:rPr lang="ru-RU" sz="2600" dirty="0"/>
              <a:t> з </a:t>
            </a:r>
            <a:r>
              <a:rPr lang="ru-RU" sz="2600" dirty="0" err="1"/>
              <a:t>багатодітних</a:t>
            </a:r>
            <a:r>
              <a:rPr lang="ru-RU" sz="2600" dirty="0"/>
              <a:t> </a:t>
            </a:r>
            <a:r>
              <a:rPr lang="ru-RU" sz="2600" dirty="0" err="1"/>
              <a:t>сімей</a:t>
            </a:r>
            <a:r>
              <a:rPr lang="ru-RU" sz="2600" dirty="0"/>
              <a:t>.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Объект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5" name="Picture 2" descr="C:\Users\Alisa-TML\Desktop\Доклад для мэра\Безымянный-1.jp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955" r="27710"/>
          <a:stretch>
            <a:fillRect/>
          </a:stretch>
        </p:blipFill>
        <p:spPr bwMode="auto">
          <a:xfrm>
            <a:off x="6267450" y="0"/>
            <a:ext cx="28765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6" name="Заголовок 1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981075"/>
            <a:ext cx="6267450" cy="4895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/>
            <a:r>
              <a:rPr lang="uk-UA" altLang="ru-RU" sz="2400" b="1" i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	</a:t>
            </a:r>
            <a:r>
              <a:rPr lang="uk-UA" altLang="ru-RU" sz="2800" i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Найдовше  місто в  Україні – його </a:t>
            </a:r>
            <a:r>
              <a:rPr lang="uk-UA" altLang="ru-RU" sz="2800" b="1" i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протяжність</a:t>
            </a:r>
            <a:r>
              <a:rPr lang="uk-UA" altLang="ru-RU" sz="2800" i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 з півдня на північ понад </a:t>
            </a:r>
            <a:r>
              <a:rPr lang="uk-UA" altLang="ru-RU" sz="2800" b="1" i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120 км</a:t>
            </a:r>
            <a:r>
              <a:rPr lang="uk-UA" altLang="ru-RU" sz="2800" i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, ширина міста сягає до 20-ти км. </a:t>
            </a:r>
          </a:p>
          <a:p>
            <a:pPr algn="just"/>
            <a:r>
              <a:rPr lang="uk-UA" altLang="ru-RU" sz="2800" i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	Територіально місто розділене на </a:t>
            </a:r>
            <a:r>
              <a:rPr lang="uk-UA" altLang="ru-RU" sz="2800" b="1" i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7 районів. </a:t>
            </a:r>
          </a:p>
          <a:p>
            <a:pPr algn="just"/>
            <a:r>
              <a:rPr lang="uk-UA" altLang="ru-RU" sz="2800" i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	Чисельність населення міста складає – </a:t>
            </a:r>
            <a:r>
              <a:rPr lang="uk-UA" altLang="ru-RU" sz="2800" b="1" i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64</a:t>
            </a:r>
            <a:r>
              <a:rPr lang="en-US" altLang="ru-RU" sz="2800" b="1" i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3</a:t>
            </a:r>
            <a:r>
              <a:rPr lang="uk-UA" altLang="ru-RU" sz="2800" b="1" i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 594 осіб</a:t>
            </a:r>
          </a:p>
        </p:txBody>
      </p:sp>
      <p:sp>
        <p:nvSpPr>
          <p:cNvPr id="3077" name="TextBox 18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67450" y="2420938"/>
            <a:ext cx="2841625" cy="266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prstDash val="sysDash"/>
                <a:miter lim="800000"/>
                <a:headEnd/>
                <a:tailEnd/>
              </a14:hiddenLine>
            </a:ext>
          </a:extLst>
        </p:spPr>
        <p:txBody>
          <a:bodyPr lIns="108000" tIns="108000" rIns="36000" bIns="108000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uk-UA" altLang="ru-RU" sz="2000" b="1">
                <a:solidFill>
                  <a:srgbClr val="000000"/>
                </a:solidFill>
              </a:rPr>
              <a:t> </a:t>
            </a:r>
          </a:p>
        </p:txBody>
      </p:sp>
      <p:pic>
        <p:nvPicPr>
          <p:cNvPr id="3078" name="Picture 3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8925" y="333375"/>
            <a:ext cx="2133600" cy="152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Заголовок 1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684213" y="188913"/>
            <a:ext cx="5092700" cy="676275"/>
          </a:xfrm>
          <a:prstGeom prst="rect">
            <a:avLst/>
          </a:prstGeom>
        </p:spPr>
        <p:txBody>
          <a:bodyPr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auto">
              <a:spcAft>
                <a:spcPts val="0"/>
              </a:spcAft>
              <a:defRPr/>
            </a:pPr>
            <a:endParaRPr lang="uk-UA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080" name="Прямоугольник 4"/>
          <p:cNvSpPr>
            <a:spLocks noChangeArrowheads="1"/>
          </p:cNvSpPr>
          <p:nvPr/>
        </p:nvSpPr>
        <p:spPr bwMode="auto">
          <a:xfrm>
            <a:off x="385763" y="833438"/>
            <a:ext cx="5688012" cy="522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uk-UA" altLang="ru-RU" sz="2800" b="1" i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Особливості міста </a:t>
            </a:r>
            <a:endParaRPr lang="ru-RU" altLang="ru-RU" b="1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506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3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Объект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507" name="Picture 2" descr="C:\Users\Alisa-TML\Desktop\Доклад для мэра\Безымянный-1.jp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955" r="27710"/>
          <a:stretch>
            <a:fillRect/>
          </a:stretch>
        </p:blipFill>
        <p:spPr bwMode="auto">
          <a:xfrm>
            <a:off x="6267450" y="0"/>
            <a:ext cx="28765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508" name="Заголовок 1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-23813" y="469900"/>
            <a:ext cx="6445251" cy="138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ru-RU" altLang="ru-RU" sz="2800" b="1" i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Напрями: «Здоров’я дітей та молоді» та «Збереження здоров’я у старості»</a:t>
            </a:r>
          </a:p>
        </p:txBody>
      </p:sp>
      <p:sp>
        <p:nvSpPr>
          <p:cNvPr id="21509" name="TextBox 18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67450" y="2568575"/>
            <a:ext cx="2876550" cy="3021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prstDash val="sysDash"/>
                <a:miter lim="800000"/>
                <a:headEnd/>
                <a:tailEnd/>
              </a14:hiddenLine>
            </a:ext>
          </a:extLst>
        </p:spPr>
        <p:txBody>
          <a:bodyPr lIns="108000" tIns="108000" rIns="36000" bIns="108000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ru-RU" altLang="ru-RU" sz="2800" b="1">
                <a:solidFill>
                  <a:srgbClr val="000000"/>
                </a:solidFill>
              </a:rPr>
              <a:t>Міська міжгалузева комплексна програма «Здоров’я нації» </a:t>
            </a:r>
            <a:endParaRPr lang="uk-UA" altLang="ru-RU" sz="2800" b="1">
              <a:solidFill>
                <a:srgbClr val="000000"/>
              </a:solidFill>
            </a:endParaRPr>
          </a:p>
        </p:txBody>
      </p:sp>
      <p:pic>
        <p:nvPicPr>
          <p:cNvPr id="21510" name="Picture 3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8925" y="333375"/>
            <a:ext cx="2133600" cy="152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Заголовок 1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198438" y="1519238"/>
            <a:ext cx="5094287" cy="674687"/>
          </a:xfrm>
          <a:prstGeom prst="rect">
            <a:avLst/>
          </a:prstGeom>
        </p:spPr>
        <p:txBody>
          <a:bodyPr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auto">
              <a:spcAft>
                <a:spcPts val="0"/>
              </a:spcAft>
              <a:defRPr/>
            </a:pPr>
            <a:endParaRPr lang="uk-UA" sz="12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1512" name="Объект 1"/>
          <p:cNvSpPr>
            <a:spLocks noGrp="1"/>
          </p:cNvSpPr>
          <p:nvPr>
            <p:ph idx="1"/>
          </p:nvPr>
        </p:nvSpPr>
        <p:spPr>
          <a:xfrm>
            <a:off x="20638" y="2060575"/>
            <a:ext cx="6267450" cy="4495800"/>
          </a:xfrm>
        </p:spPr>
        <p:txBody>
          <a:bodyPr/>
          <a:lstStyle/>
          <a:p>
            <a:pPr algn="just">
              <a:buFont typeface="Wingdings" pitchFamily="2" charset="2"/>
              <a:buChar char="q"/>
            </a:pPr>
            <a:r>
              <a:rPr lang="ru-RU" altLang="ru-RU" sz="2600" smtClean="0"/>
              <a:t>на  забезпечення безкоштовними медикаментами пільгової категорії населення міста; </a:t>
            </a:r>
          </a:p>
          <a:p>
            <a:pPr algn="just">
              <a:buFont typeface="Wingdings" pitchFamily="2" charset="2"/>
              <a:buChar char="q"/>
            </a:pPr>
            <a:r>
              <a:rPr lang="ru-RU" altLang="ru-RU" sz="2600" smtClean="0"/>
              <a:t>забезпечення та надання медичної допомоги хворим із захворюваннями крові, кровотворної та лімфатичної тканин, рідкісними (орфанними) захворюваннями, з патологією нирок та іншими невиліковними хворобами;</a:t>
            </a:r>
          </a:p>
          <a:p>
            <a:pPr algn="just">
              <a:buFont typeface="Wingdings" pitchFamily="2" charset="2"/>
              <a:buChar char="q"/>
            </a:pPr>
            <a:r>
              <a:rPr lang="ru-RU" altLang="ru-RU" sz="2600" smtClean="0"/>
              <a:t>на придбання вакцин проти грипу. 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530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7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Объект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531" name="Picture 2" descr="C:\Users\Alisa-TML\Desktop\Доклад для мэра\Безымянный-1.jp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955" r="27710"/>
          <a:stretch>
            <a:fillRect/>
          </a:stretch>
        </p:blipFill>
        <p:spPr bwMode="auto">
          <a:xfrm>
            <a:off x="6267450" y="0"/>
            <a:ext cx="28765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2" name="Заголовок 1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260350"/>
            <a:ext cx="6267450" cy="1081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ru-RU" altLang="ru-RU" sz="2400" b="1" i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Міська влада вживає багато заходів для залучення до роботи лікарів</a:t>
            </a:r>
          </a:p>
        </p:txBody>
      </p:sp>
      <p:sp>
        <p:nvSpPr>
          <p:cNvPr id="22533" name="TextBox 18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67450" y="2349500"/>
            <a:ext cx="2876550" cy="301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prstDash val="sysDash"/>
                <a:miter lim="800000"/>
                <a:headEnd/>
                <a:tailEnd/>
              </a14:hiddenLine>
            </a:ext>
          </a:extLst>
        </p:spPr>
        <p:txBody>
          <a:bodyPr lIns="108000" tIns="108000" rIns="36000" bIns="108000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ru-RU" altLang="ru-RU" sz="2400" b="1">
                <a:solidFill>
                  <a:srgbClr val="000000"/>
                </a:solidFill>
              </a:rPr>
              <a:t>Забезпечені житлом 1</a:t>
            </a:r>
            <a:r>
              <a:rPr lang="en-US" altLang="ru-RU" sz="2400" b="1">
                <a:solidFill>
                  <a:srgbClr val="000000"/>
                </a:solidFill>
              </a:rPr>
              <a:t>44</a:t>
            </a:r>
            <a:r>
              <a:rPr lang="ru-RU" altLang="ru-RU" sz="2400" b="1">
                <a:solidFill>
                  <a:srgbClr val="000000"/>
                </a:solidFill>
              </a:rPr>
              <a:t> родин</a:t>
            </a:r>
            <a:r>
              <a:rPr lang="uk-UA" altLang="ru-RU" sz="2400" b="1">
                <a:solidFill>
                  <a:srgbClr val="000000"/>
                </a:solidFill>
              </a:rPr>
              <a:t>и</a:t>
            </a:r>
            <a:r>
              <a:rPr lang="ru-RU" altLang="ru-RU" sz="2400" b="1">
                <a:solidFill>
                  <a:srgbClr val="000000"/>
                </a:solidFill>
              </a:rPr>
              <a:t> медичних працівників. </a:t>
            </a:r>
          </a:p>
          <a:p>
            <a:r>
              <a:rPr lang="uk-UA" altLang="ru-RU" sz="2400" b="1">
                <a:solidFill>
                  <a:srgbClr val="000000"/>
                </a:solidFill>
              </a:rPr>
              <a:t>Д</a:t>
            </a:r>
            <a:r>
              <a:rPr lang="ru-RU" altLang="ru-RU" sz="2400" b="1">
                <a:solidFill>
                  <a:srgbClr val="000000"/>
                </a:solidFill>
              </a:rPr>
              <a:t>іє програма місцевих стимулів.</a:t>
            </a:r>
          </a:p>
          <a:p>
            <a:r>
              <a:rPr lang="ru-RU" altLang="ru-RU" sz="2400" b="1">
                <a:solidFill>
                  <a:srgbClr val="000000"/>
                </a:solidFill>
              </a:rPr>
              <a:t>Покращуються умови праці.</a:t>
            </a:r>
          </a:p>
        </p:txBody>
      </p:sp>
      <p:pic>
        <p:nvPicPr>
          <p:cNvPr id="22534" name="Picture 3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8925" y="333375"/>
            <a:ext cx="2133600" cy="152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Заголовок 1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198438" y="1519238"/>
            <a:ext cx="5094287" cy="674687"/>
          </a:xfrm>
          <a:prstGeom prst="rect">
            <a:avLst/>
          </a:prstGeom>
        </p:spPr>
        <p:txBody>
          <a:bodyPr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auto">
              <a:spcAft>
                <a:spcPts val="0"/>
              </a:spcAft>
              <a:defRPr/>
            </a:pPr>
            <a:endParaRPr lang="uk-UA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60427" name="Picture 11" descr="H:\ФОТО для буклета\31.JPG"/>
          <p:cNvPicPr>
            <a:picLocks noGrp="1" noChangeAspect="1" noChangeArrowheads="1"/>
          </p:cNvPicPr>
          <p:nvPr>
            <p:ph idx="1"/>
          </p:nvPr>
        </p:nvPicPr>
        <p:blipFill>
          <a:blip r:embed="rId13"/>
          <a:srcRect/>
          <a:stretch>
            <a:fillRect/>
          </a:stretch>
        </p:blipFill>
        <p:spPr>
          <a:xfrm>
            <a:off x="222250" y="2082800"/>
            <a:ext cx="5957888" cy="3989388"/>
          </a:xfrm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/>
        </p:spPr>
      </p:pic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4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04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04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04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54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1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Объект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555" name="Picture 2" descr="C:\Users\Alisa-TML\Desktop\Доклад для мэра\Безымянный-1.jp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955" r="27710"/>
          <a:stretch>
            <a:fillRect/>
          </a:stretch>
        </p:blipFill>
        <p:spPr bwMode="auto">
          <a:xfrm>
            <a:off x="6267450" y="0"/>
            <a:ext cx="28765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556" name="Заголовок 1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12700"/>
            <a:ext cx="6443663" cy="1082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ru-RU" altLang="ru-RU" sz="2800" b="1" i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Стратегічн</a:t>
            </a:r>
            <a:r>
              <a:rPr lang="uk-UA" altLang="ru-RU" sz="2800" b="1" i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ий</a:t>
            </a:r>
            <a:r>
              <a:rPr lang="ru-RU" altLang="ru-RU" sz="2800" b="1" i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 план розвитку міста до 2020 року</a:t>
            </a:r>
          </a:p>
        </p:txBody>
      </p:sp>
      <p:sp>
        <p:nvSpPr>
          <p:cNvPr id="23557" name="TextBox 18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67450" y="2568575"/>
            <a:ext cx="2876550" cy="3021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prstDash val="sysDash"/>
                <a:miter lim="800000"/>
                <a:headEnd/>
                <a:tailEnd/>
              </a14:hiddenLine>
            </a:ext>
          </a:extLst>
        </p:spPr>
        <p:txBody>
          <a:bodyPr lIns="108000" tIns="108000" rIns="36000" bIns="108000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uk-UA" altLang="ru-RU" sz="2800" b="1">
                <a:solidFill>
                  <a:srgbClr val="000000"/>
                </a:solidFill>
              </a:rPr>
              <a:t> </a:t>
            </a:r>
          </a:p>
        </p:txBody>
      </p:sp>
      <p:pic>
        <p:nvPicPr>
          <p:cNvPr id="23558" name="Picture 3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8925" y="333375"/>
            <a:ext cx="2133600" cy="152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Заголовок 1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198438" y="1519238"/>
            <a:ext cx="5094287" cy="674687"/>
          </a:xfrm>
          <a:prstGeom prst="rect">
            <a:avLst/>
          </a:prstGeom>
        </p:spPr>
        <p:txBody>
          <a:bodyPr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auto">
              <a:spcAft>
                <a:spcPts val="0"/>
              </a:spcAft>
              <a:defRPr/>
            </a:pPr>
            <a:endParaRPr lang="uk-UA" sz="12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3560" name="Объект 1"/>
          <p:cNvSpPr>
            <a:spLocks noGrp="1"/>
          </p:cNvSpPr>
          <p:nvPr>
            <p:ph idx="1"/>
          </p:nvPr>
        </p:nvSpPr>
        <p:spPr>
          <a:xfrm>
            <a:off x="0" y="1014413"/>
            <a:ext cx="6267450" cy="5843587"/>
          </a:xfrm>
        </p:spPr>
        <p:txBody>
          <a:bodyPr/>
          <a:lstStyle/>
          <a:p>
            <a:pPr algn="just">
              <a:buFont typeface="Wingdings" pitchFamily="2" charset="2"/>
              <a:buChar char="q"/>
            </a:pPr>
            <a:r>
              <a:rPr lang="ru-RU" altLang="ru-RU" sz="2600" smtClean="0"/>
              <a:t>забезпечення хворих препаратами для антиретровірусної терапії в рамках взаємодії з Глобальним фондом та іншими донорськими організаціями, впровадження базового пакету ВІЛ-послуг в закладах охорони здоров’я;</a:t>
            </a:r>
          </a:p>
          <a:p>
            <a:pPr algn="just">
              <a:buFont typeface="Wingdings" pitchFamily="2" charset="2"/>
              <a:buChar char="q"/>
            </a:pPr>
            <a:r>
              <a:rPr lang="ru-RU" altLang="ru-RU" sz="2600" smtClean="0"/>
              <a:t> покращення спеціалізованої ком-плексної профілактики та лікування серцево-судинних і судинно-мозкових захворювань та підвищення якості життя населення міста;</a:t>
            </a:r>
          </a:p>
          <a:p>
            <a:pPr algn="just">
              <a:buFont typeface="Wingdings" pitchFamily="2" charset="2"/>
              <a:buChar char="q"/>
            </a:pPr>
            <a:r>
              <a:rPr lang="ru-RU" altLang="ru-RU" sz="2600" smtClean="0"/>
              <a:t>створення системи паліативної допомоги на дому з відкриттям паліативного центру й хоспису;</a:t>
            </a:r>
          </a:p>
          <a:p>
            <a:pPr algn="just">
              <a:buFont typeface="Wingdings" pitchFamily="2" charset="2"/>
              <a:buChar char="q"/>
            </a:pPr>
            <a:endParaRPr lang="ru-RU" altLang="ru-RU" sz="2600" smtClean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578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5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Объект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579" name="Picture 2" descr="C:\Users\Alisa-TML\Desktop\Доклад для мэра\Безымянный-1.jp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955" r="27710"/>
          <a:stretch>
            <a:fillRect/>
          </a:stretch>
        </p:blipFill>
        <p:spPr bwMode="auto">
          <a:xfrm>
            <a:off x="6267450" y="0"/>
            <a:ext cx="28765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580" name="Заголовок 1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-23813" y="65088"/>
            <a:ext cx="6291263" cy="1049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ru-RU" altLang="ru-RU" sz="2800" b="1" i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Стратегічний план розвитку міста до 2020 року</a:t>
            </a:r>
          </a:p>
        </p:txBody>
      </p:sp>
      <p:sp>
        <p:nvSpPr>
          <p:cNvPr id="24581" name="TextBox 18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67450" y="2568575"/>
            <a:ext cx="2876550" cy="3021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prstDash val="sysDash"/>
                <a:miter lim="800000"/>
                <a:headEnd/>
                <a:tailEnd/>
              </a14:hiddenLine>
            </a:ext>
          </a:extLst>
        </p:spPr>
        <p:txBody>
          <a:bodyPr lIns="108000" tIns="108000" rIns="36000" bIns="108000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endParaRPr lang="uk-UA" altLang="ru-RU" sz="2800" b="1">
              <a:solidFill>
                <a:srgbClr val="000000"/>
              </a:solidFill>
            </a:endParaRPr>
          </a:p>
        </p:txBody>
      </p:sp>
      <p:pic>
        <p:nvPicPr>
          <p:cNvPr id="24582" name="Picture 3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8925" y="333375"/>
            <a:ext cx="2133600" cy="152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Заголовок 1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198438" y="1519238"/>
            <a:ext cx="5094287" cy="674687"/>
          </a:xfrm>
          <a:prstGeom prst="rect">
            <a:avLst/>
          </a:prstGeom>
        </p:spPr>
        <p:txBody>
          <a:bodyPr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auto">
              <a:spcAft>
                <a:spcPts val="0"/>
              </a:spcAft>
              <a:defRPr/>
            </a:pPr>
            <a:endParaRPr lang="uk-UA" sz="12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4584" name="Объект 1"/>
          <p:cNvSpPr>
            <a:spLocks noGrp="1"/>
          </p:cNvSpPr>
          <p:nvPr>
            <p:ph idx="1"/>
          </p:nvPr>
        </p:nvSpPr>
        <p:spPr>
          <a:xfrm>
            <a:off x="28575" y="1527175"/>
            <a:ext cx="6267450" cy="4997450"/>
          </a:xfrm>
        </p:spPr>
        <p:txBody>
          <a:bodyPr/>
          <a:lstStyle/>
          <a:p>
            <a:pPr algn="just">
              <a:buFont typeface="Wingdings" pitchFamily="2" charset="2"/>
              <a:buChar char="q"/>
            </a:pPr>
            <a:r>
              <a:rPr lang="ru-RU" altLang="ru-RU" sz="2600" smtClean="0"/>
              <a:t>забезпечення продовольчими наборами малозабез-печених сімей і людей, які мають соціально небезпечні захворювання;</a:t>
            </a:r>
          </a:p>
          <a:p>
            <a:pPr algn="just">
              <a:buFont typeface="Wingdings" pitchFamily="2" charset="2"/>
              <a:buChar char="q"/>
            </a:pPr>
            <a:r>
              <a:rPr lang="ru-RU" altLang="ru-RU" sz="2600" smtClean="0"/>
              <a:t>створення єдиного медичного центру надання допомоги дітям і жінкам, які планують вагітність, що буде орієнтований на роботу з дітьми, народженими від ВІЛ-інфікованих жінок, хворих на туберкульоз, гепатит та інші соціально небезпечні захворювання;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602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9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Объект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5603" name="Picture 2" descr="C:\Users\Alisa-TML\Desktop\Доклад для мэра\Безымянный-1.jp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955" r="27710"/>
          <a:stretch>
            <a:fillRect/>
          </a:stretch>
        </p:blipFill>
        <p:spPr bwMode="auto">
          <a:xfrm>
            <a:off x="6267450" y="0"/>
            <a:ext cx="28765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604" name="Заголовок 1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3175" y="47625"/>
            <a:ext cx="6445250" cy="1049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ru-RU" altLang="ru-RU" sz="2800" b="1" i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Стратегічн</a:t>
            </a:r>
            <a:r>
              <a:rPr lang="uk-UA" altLang="ru-RU" sz="2800" b="1" i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ий</a:t>
            </a:r>
            <a:r>
              <a:rPr lang="ru-RU" altLang="ru-RU" sz="2800" b="1" i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 план розвитку міста до 2020 року</a:t>
            </a:r>
          </a:p>
        </p:txBody>
      </p:sp>
      <p:sp>
        <p:nvSpPr>
          <p:cNvPr id="25605" name="TextBox 18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67450" y="2568575"/>
            <a:ext cx="2876550" cy="3021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prstDash val="sysDash"/>
                <a:miter lim="800000"/>
                <a:headEnd/>
                <a:tailEnd/>
              </a14:hiddenLine>
            </a:ext>
          </a:extLst>
        </p:spPr>
        <p:txBody>
          <a:bodyPr lIns="108000" tIns="108000" rIns="36000" bIns="108000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endParaRPr lang="uk-UA" altLang="ru-RU" sz="2800" b="1">
              <a:solidFill>
                <a:srgbClr val="000000"/>
              </a:solidFill>
            </a:endParaRPr>
          </a:p>
        </p:txBody>
      </p:sp>
      <p:pic>
        <p:nvPicPr>
          <p:cNvPr id="25606" name="Picture 3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8925" y="333375"/>
            <a:ext cx="2133600" cy="152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Заголовок 1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198438" y="1519238"/>
            <a:ext cx="5094287" cy="674687"/>
          </a:xfrm>
          <a:prstGeom prst="rect">
            <a:avLst/>
          </a:prstGeom>
        </p:spPr>
        <p:txBody>
          <a:bodyPr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auto">
              <a:spcAft>
                <a:spcPts val="0"/>
              </a:spcAft>
              <a:defRPr/>
            </a:pPr>
            <a:endParaRPr lang="uk-UA" sz="12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5608" name="Объект 1"/>
          <p:cNvSpPr>
            <a:spLocks noGrp="1"/>
          </p:cNvSpPr>
          <p:nvPr>
            <p:ph idx="1"/>
          </p:nvPr>
        </p:nvSpPr>
        <p:spPr>
          <a:xfrm>
            <a:off x="20638" y="1096963"/>
            <a:ext cx="6267450" cy="5761037"/>
          </a:xfrm>
        </p:spPr>
        <p:txBody>
          <a:bodyPr/>
          <a:lstStyle/>
          <a:p>
            <a:pPr algn="just">
              <a:buFont typeface="Wingdings" pitchFamily="2" charset="2"/>
              <a:buChar char="q"/>
            </a:pPr>
            <a:r>
              <a:rPr lang="ru-RU" altLang="ru-RU" sz="2600" smtClean="0"/>
              <a:t>відкриття кабінетів інтегрованої допомоги пацієнтам з гепатитом, туберкульозом, ВІЛ-інфекцією в кожному районі міста;</a:t>
            </a:r>
          </a:p>
          <a:p>
            <a:pPr algn="just">
              <a:buFont typeface="Wingdings" pitchFamily="2" charset="2"/>
              <a:buChar char="q"/>
            </a:pPr>
            <a:r>
              <a:rPr lang="ru-RU" altLang="ru-RU" sz="2600" smtClean="0"/>
              <a:t>забезпечення в потрібній кількості безкоштовними тест-системами єдиного медичного центру та кабінетів інтегрованої допомоги для своєчасного виявлення соціально небезпечних захворювань;</a:t>
            </a:r>
          </a:p>
          <a:p>
            <a:pPr algn="just">
              <a:buFont typeface="Wingdings" pitchFamily="2" charset="2"/>
              <a:buChar char="q"/>
            </a:pPr>
            <a:r>
              <a:rPr lang="ru-RU" altLang="ru-RU" sz="2600" smtClean="0"/>
              <a:t>забезпечення своєчасним санаторно-курортним лікуванням та літнім оздоровленням дітей, постраждалих від соціально небезпечних захворювань; 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626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3" name="think-cell Slide" r:id="rId9" imgW="270" imgH="270" progId="">
                  <p:embed/>
                </p:oleObj>
              </mc:Choice>
              <mc:Fallback>
                <p:oleObj name="think-cell Slide" r:id="rId9" imgW="270" imgH="270" progId="">
                  <p:embed/>
                  <p:pic>
                    <p:nvPicPr>
                      <p:cNvPr id="0" name="Объект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627" name="Picture 2" descr="C:\Users\Alisa-TML\Desktop\Доклад для мэра\Безымянный-1.jp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955" r="27710"/>
          <a:stretch>
            <a:fillRect/>
          </a:stretch>
        </p:blipFill>
        <p:spPr bwMode="auto">
          <a:xfrm>
            <a:off x="6267450" y="0"/>
            <a:ext cx="28765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628" name="Заголовок 1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3175" y="47625"/>
            <a:ext cx="6445250" cy="1049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ru-RU" altLang="ru-RU" sz="2800" b="1" i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Стратегічн</a:t>
            </a:r>
            <a:r>
              <a:rPr lang="uk-UA" altLang="ru-RU" sz="2800" b="1" i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ий</a:t>
            </a:r>
            <a:r>
              <a:rPr lang="ru-RU" altLang="ru-RU" sz="2800" b="1" i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 план розвитку міста до 2020 року</a:t>
            </a:r>
          </a:p>
        </p:txBody>
      </p:sp>
      <p:sp>
        <p:nvSpPr>
          <p:cNvPr id="26629" name="TextBox 18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67450" y="2568575"/>
            <a:ext cx="2876550" cy="3021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prstDash val="sysDash"/>
                <a:miter lim="800000"/>
                <a:headEnd/>
                <a:tailEnd/>
              </a14:hiddenLine>
            </a:ext>
          </a:extLst>
        </p:spPr>
        <p:txBody>
          <a:bodyPr lIns="108000" tIns="108000" rIns="36000" bIns="108000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endParaRPr lang="uk-UA" altLang="ru-RU" sz="2800" b="1">
              <a:solidFill>
                <a:srgbClr val="000000"/>
              </a:solidFill>
            </a:endParaRPr>
          </a:p>
        </p:txBody>
      </p:sp>
      <p:pic>
        <p:nvPicPr>
          <p:cNvPr id="26630" name="Picture 3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8925" y="333375"/>
            <a:ext cx="2133600" cy="152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Заголовок 1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198438" y="1519238"/>
            <a:ext cx="5094287" cy="674687"/>
          </a:xfrm>
          <a:prstGeom prst="rect">
            <a:avLst/>
          </a:prstGeom>
        </p:spPr>
        <p:txBody>
          <a:bodyPr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auto">
              <a:spcAft>
                <a:spcPts val="0"/>
              </a:spcAft>
              <a:defRPr/>
            </a:pPr>
            <a:endParaRPr lang="uk-UA" sz="12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6632" name="Объект 1"/>
          <p:cNvSpPr>
            <a:spLocks noGrp="1"/>
          </p:cNvSpPr>
          <p:nvPr>
            <p:ph idx="1"/>
          </p:nvPr>
        </p:nvSpPr>
        <p:spPr>
          <a:xfrm>
            <a:off x="33338" y="1341438"/>
            <a:ext cx="6267450" cy="5111750"/>
          </a:xfrm>
        </p:spPr>
        <p:txBody>
          <a:bodyPr/>
          <a:lstStyle/>
          <a:p>
            <a:pPr algn="just">
              <a:buFont typeface="Wingdings" pitchFamily="2" charset="2"/>
              <a:buChar char="q"/>
            </a:pPr>
            <a:r>
              <a:rPr lang="ru-RU" altLang="ru-RU" sz="2600" smtClean="0"/>
              <a:t>розвиток служб соціального та медичного патронажу сімей, у яких є інваліди та літні люди, що потребують догляду;</a:t>
            </a:r>
          </a:p>
          <a:p>
            <a:pPr algn="just">
              <a:buFont typeface="Wingdings" pitchFamily="2" charset="2"/>
              <a:buChar char="q"/>
            </a:pPr>
            <a:r>
              <a:rPr lang="ru-RU" altLang="ru-RU" sz="2600" smtClean="0"/>
              <a:t>упровадження системи постійного моніторингу ступеня задоволеності якістю одержувачів медичних послуг;</a:t>
            </a:r>
          </a:p>
          <a:p>
            <a:pPr algn="just">
              <a:buFont typeface="Wingdings" pitchFamily="2" charset="2"/>
              <a:buChar char="q"/>
            </a:pPr>
            <a:r>
              <a:rPr lang="ru-RU" altLang="ru-RU" sz="2600" smtClean="0"/>
              <a:t>упровадження інформаційних технологій у сферу надання медичних послуг, створення єдиної міської медичної інформаційної системи.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650" name="Picture 2" descr="C:\Users\Alisa-TML\Desktop\Доклад для мэра\Безымянный-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9688" y="0"/>
            <a:ext cx="918051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651" name="TextBox 6"/>
          <p:cNvSpPr txBox="1">
            <a:spLocks noChangeArrowheads="1"/>
          </p:cNvSpPr>
          <p:nvPr/>
        </p:nvSpPr>
        <p:spPr bwMode="auto">
          <a:xfrm>
            <a:off x="684213" y="908050"/>
            <a:ext cx="3622675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uk-UA" altLang="ru-RU" sz="3200" b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Дякую за увагу!</a:t>
            </a:r>
            <a:endParaRPr lang="ru-RU" altLang="ru-RU" sz="3200" b="1">
              <a:solidFill>
                <a:srgbClr val="990099"/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27652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3327"/>
          <a:stretch>
            <a:fillRect/>
          </a:stretch>
        </p:blipFill>
        <p:spPr bwMode="auto">
          <a:xfrm>
            <a:off x="4813300" y="5230813"/>
            <a:ext cx="187325" cy="1146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653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5738" y="1412875"/>
            <a:ext cx="4646612" cy="3308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654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8175" y="5230813"/>
            <a:ext cx="2762250" cy="1152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5"/>
          <p:cNvSpPr>
            <a:spLocks noGrp="1" noChangeArrowheads="1"/>
          </p:cNvSpPr>
          <p:nvPr>
            <p:ph type="ctrTitle"/>
          </p:nvPr>
        </p:nvSpPr>
        <p:spPr>
          <a:xfrm>
            <a:off x="1979613" y="228600"/>
            <a:ext cx="5792787" cy="1419225"/>
          </a:xfrm>
        </p:spPr>
        <p:txBody>
          <a:bodyPr/>
          <a:lstStyle/>
          <a:p>
            <a:r>
              <a:rPr lang="uk-UA" altLang="ru-RU" sz="2400" b="1" smtClean="0"/>
              <a:t>Розташування Центрів первинної </a:t>
            </a:r>
            <a:br>
              <a:rPr lang="uk-UA" altLang="ru-RU" sz="2400" b="1" smtClean="0"/>
            </a:br>
            <a:r>
              <a:rPr lang="uk-UA" altLang="ru-RU" sz="2400" b="1" smtClean="0"/>
              <a:t>медико-санітарної допомоги </a:t>
            </a:r>
            <a:r>
              <a:rPr lang="uk-UA" altLang="ru-RU" sz="2000" b="1" smtClean="0"/>
              <a:t/>
            </a:r>
            <a:br>
              <a:rPr lang="uk-UA" altLang="ru-RU" sz="2000" b="1" smtClean="0"/>
            </a:br>
            <a:endParaRPr lang="ru-RU" altLang="ru-RU" sz="2000" smtClean="0"/>
          </a:p>
        </p:txBody>
      </p:sp>
      <p:grpSp>
        <p:nvGrpSpPr>
          <p:cNvPr id="4099" name="Group 7"/>
          <p:cNvGrpSpPr>
            <a:grpSpLocks/>
          </p:cNvGrpSpPr>
          <p:nvPr/>
        </p:nvGrpSpPr>
        <p:grpSpPr bwMode="auto">
          <a:xfrm>
            <a:off x="228600" y="457200"/>
            <a:ext cx="8763000" cy="6400800"/>
            <a:chOff x="1596" y="1695"/>
            <a:chExt cx="7554" cy="13959"/>
          </a:xfrm>
        </p:grpSpPr>
        <p:grpSp>
          <p:nvGrpSpPr>
            <p:cNvPr id="4117" name="Group 8"/>
            <p:cNvGrpSpPr>
              <a:grpSpLocks/>
            </p:cNvGrpSpPr>
            <p:nvPr/>
          </p:nvGrpSpPr>
          <p:grpSpPr bwMode="auto">
            <a:xfrm>
              <a:off x="1596" y="1695"/>
              <a:ext cx="7554" cy="13959"/>
              <a:chOff x="1596" y="1695"/>
              <a:chExt cx="7554" cy="13959"/>
            </a:xfrm>
          </p:grpSpPr>
          <p:sp>
            <p:nvSpPr>
              <p:cNvPr id="4126" name="Freeform 9"/>
              <p:cNvSpPr>
                <a:spLocks/>
              </p:cNvSpPr>
              <p:nvPr/>
            </p:nvSpPr>
            <p:spPr bwMode="auto">
              <a:xfrm>
                <a:off x="1596" y="1695"/>
                <a:ext cx="7554" cy="13959"/>
              </a:xfrm>
              <a:custGeom>
                <a:avLst/>
                <a:gdLst>
                  <a:gd name="T0" fmla="*/ 1404 w 6594"/>
                  <a:gd name="T1" fmla="*/ 17855 h 12185"/>
                  <a:gd name="T2" fmla="*/ 1454 w 6594"/>
                  <a:gd name="T3" fmla="*/ 17207 h 12185"/>
                  <a:gd name="T4" fmla="*/ 1718 w 6594"/>
                  <a:gd name="T5" fmla="*/ 16710 h 12185"/>
                  <a:gd name="T6" fmla="*/ 2106 w 6594"/>
                  <a:gd name="T7" fmla="*/ 16057 h 12185"/>
                  <a:gd name="T8" fmla="*/ 3053 w 6594"/>
                  <a:gd name="T9" fmla="*/ 15661 h 12185"/>
                  <a:gd name="T10" fmla="*/ 3471 w 6594"/>
                  <a:gd name="T11" fmla="*/ 14403 h 12185"/>
                  <a:gd name="T12" fmla="*/ 4089 w 6594"/>
                  <a:gd name="T13" fmla="*/ 12827 h 12185"/>
                  <a:gd name="T14" fmla="*/ 5193 w 6594"/>
                  <a:gd name="T15" fmla="*/ 13164 h 12185"/>
                  <a:gd name="T16" fmla="*/ 5604 w 6594"/>
                  <a:gd name="T17" fmla="*/ 12321 h 12185"/>
                  <a:gd name="T18" fmla="*/ 6573 w 6594"/>
                  <a:gd name="T19" fmla="*/ 12270 h 12185"/>
                  <a:gd name="T20" fmla="*/ 6807 w 6594"/>
                  <a:gd name="T21" fmla="*/ 11520 h 12185"/>
                  <a:gd name="T22" fmla="*/ 6562 w 6594"/>
                  <a:gd name="T23" fmla="*/ 11120 h 12185"/>
                  <a:gd name="T24" fmla="*/ 7593 w 6594"/>
                  <a:gd name="T25" fmla="*/ 11089 h 12185"/>
                  <a:gd name="T26" fmla="*/ 8208 w 6594"/>
                  <a:gd name="T27" fmla="*/ 11367 h 12185"/>
                  <a:gd name="T28" fmla="*/ 8905 w 6594"/>
                  <a:gd name="T29" fmla="*/ 10687 h 12185"/>
                  <a:gd name="T30" fmla="*/ 8902 w 6594"/>
                  <a:gd name="T31" fmla="*/ 9616 h 12185"/>
                  <a:gd name="T32" fmla="*/ 7618 w 6594"/>
                  <a:gd name="T33" fmla="*/ 9552 h 12185"/>
                  <a:gd name="T34" fmla="*/ 7437 w 6594"/>
                  <a:gd name="T35" fmla="*/ 8624 h 12185"/>
                  <a:gd name="T36" fmla="*/ 7138 w 6594"/>
                  <a:gd name="T37" fmla="*/ 8071 h 12185"/>
                  <a:gd name="T38" fmla="*/ 7905 w 6594"/>
                  <a:gd name="T39" fmla="*/ 7645 h 12185"/>
                  <a:gd name="T40" fmla="*/ 8396 w 6594"/>
                  <a:gd name="T41" fmla="*/ 6816 h 12185"/>
                  <a:gd name="T42" fmla="*/ 7808 w 6594"/>
                  <a:gd name="T43" fmla="*/ 6022 h 12185"/>
                  <a:gd name="T44" fmla="*/ 8115 w 6594"/>
                  <a:gd name="T45" fmla="*/ 5493 h 12185"/>
                  <a:gd name="T46" fmla="*/ 8231 w 6594"/>
                  <a:gd name="T47" fmla="*/ 4638 h 12185"/>
                  <a:gd name="T48" fmla="*/ 8491 w 6594"/>
                  <a:gd name="T49" fmla="*/ 3695 h 12185"/>
                  <a:gd name="T50" fmla="*/ 9312 w 6594"/>
                  <a:gd name="T51" fmla="*/ 3105 h 12185"/>
                  <a:gd name="T52" fmla="*/ 9869 w 6594"/>
                  <a:gd name="T53" fmla="*/ 1835 h 12185"/>
                  <a:gd name="T54" fmla="*/ 9378 w 6594"/>
                  <a:gd name="T55" fmla="*/ 859 h 12185"/>
                  <a:gd name="T56" fmla="*/ 8461 w 6594"/>
                  <a:gd name="T57" fmla="*/ 504 h 12185"/>
                  <a:gd name="T58" fmla="*/ 7924 w 6594"/>
                  <a:gd name="T59" fmla="*/ 1821 h 12185"/>
                  <a:gd name="T60" fmla="*/ 7728 w 6594"/>
                  <a:gd name="T61" fmla="*/ 2989 h 12185"/>
                  <a:gd name="T62" fmla="*/ 7277 w 6594"/>
                  <a:gd name="T63" fmla="*/ 3525 h 12185"/>
                  <a:gd name="T64" fmla="*/ 6958 w 6594"/>
                  <a:gd name="T65" fmla="*/ 4470 h 12185"/>
                  <a:gd name="T66" fmla="*/ 5546 w 6594"/>
                  <a:gd name="T67" fmla="*/ 3972 h 12185"/>
                  <a:gd name="T68" fmla="*/ 5712 w 6594"/>
                  <a:gd name="T69" fmla="*/ 3270 h 12185"/>
                  <a:gd name="T70" fmla="*/ 5309 w 6594"/>
                  <a:gd name="T71" fmla="*/ 3323 h 12185"/>
                  <a:gd name="T72" fmla="*/ 5072 w 6594"/>
                  <a:gd name="T73" fmla="*/ 4185 h 12185"/>
                  <a:gd name="T74" fmla="*/ 5915 w 6594"/>
                  <a:gd name="T75" fmla="*/ 4325 h 12185"/>
                  <a:gd name="T76" fmla="*/ 6568 w 6594"/>
                  <a:gd name="T77" fmla="*/ 5333 h 12185"/>
                  <a:gd name="T78" fmla="*/ 5887 w 6594"/>
                  <a:gd name="T79" fmla="*/ 5745 h 12185"/>
                  <a:gd name="T80" fmla="*/ 5776 w 6594"/>
                  <a:gd name="T81" fmla="*/ 6308 h 12185"/>
                  <a:gd name="T82" fmla="*/ 5136 w 6594"/>
                  <a:gd name="T83" fmla="*/ 6698 h 12185"/>
                  <a:gd name="T84" fmla="*/ 4923 w 6594"/>
                  <a:gd name="T85" fmla="*/ 7790 h 12185"/>
                  <a:gd name="T86" fmla="*/ 4131 w 6594"/>
                  <a:gd name="T87" fmla="*/ 8530 h 12185"/>
                  <a:gd name="T88" fmla="*/ 3203 w 6594"/>
                  <a:gd name="T89" fmla="*/ 9188 h 12185"/>
                  <a:gd name="T90" fmla="*/ 2221 w 6594"/>
                  <a:gd name="T91" fmla="*/ 10100 h 12185"/>
                  <a:gd name="T92" fmla="*/ 2697 w 6594"/>
                  <a:gd name="T93" fmla="*/ 11062 h 12185"/>
                  <a:gd name="T94" fmla="*/ 2598 w 6594"/>
                  <a:gd name="T95" fmla="*/ 12167 h 12185"/>
                  <a:gd name="T96" fmla="*/ 1883 w 6594"/>
                  <a:gd name="T97" fmla="*/ 12631 h 12185"/>
                  <a:gd name="T98" fmla="*/ 2264 w 6594"/>
                  <a:gd name="T99" fmla="*/ 13710 h 12185"/>
                  <a:gd name="T100" fmla="*/ 2744 w 6594"/>
                  <a:gd name="T101" fmla="*/ 12905 h 12185"/>
                  <a:gd name="T102" fmla="*/ 3684 w 6594"/>
                  <a:gd name="T103" fmla="*/ 12667 h 12185"/>
                  <a:gd name="T104" fmla="*/ 3910 w 6594"/>
                  <a:gd name="T105" fmla="*/ 13572 h 12185"/>
                  <a:gd name="T106" fmla="*/ 3061 w 6594"/>
                  <a:gd name="T107" fmla="*/ 14933 h 12185"/>
                  <a:gd name="T108" fmla="*/ 2786 w 6594"/>
                  <a:gd name="T109" fmla="*/ 16179 h 12185"/>
                  <a:gd name="T110" fmla="*/ 1992 w 6594"/>
                  <a:gd name="T111" fmla="*/ 15841 h 12185"/>
                  <a:gd name="T112" fmla="*/ 1876 w 6594"/>
                  <a:gd name="T113" fmla="*/ 15454 h 12185"/>
                  <a:gd name="T114" fmla="*/ 1448 w 6594"/>
                  <a:gd name="T115" fmla="*/ 15880 h 12185"/>
                  <a:gd name="T116" fmla="*/ 1174 w 6594"/>
                  <a:gd name="T117" fmla="*/ 16470 h 12185"/>
                  <a:gd name="T118" fmla="*/ 622 w 6594"/>
                  <a:gd name="T119" fmla="*/ 17038 h 12185"/>
                  <a:gd name="T120" fmla="*/ 91 w 6594"/>
                  <a:gd name="T121" fmla="*/ 17358 h 12185"/>
                  <a:gd name="T122" fmla="*/ 669 w 6594"/>
                  <a:gd name="T123" fmla="*/ 17610 h 12185"/>
                  <a:gd name="T124" fmla="*/ 524 w 6594"/>
                  <a:gd name="T125" fmla="*/ 18247 h 12185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6594"/>
                  <a:gd name="T190" fmla="*/ 0 h 12185"/>
                  <a:gd name="T191" fmla="*/ 6594 w 6594"/>
                  <a:gd name="T192" fmla="*/ 12185 h 12185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6594" h="12185">
                    <a:moveTo>
                      <a:pt x="595" y="12172"/>
                    </a:moveTo>
                    <a:cubicBezTo>
                      <a:pt x="616" y="12168"/>
                      <a:pt x="645" y="12165"/>
                      <a:pt x="667" y="12159"/>
                    </a:cubicBezTo>
                    <a:cubicBezTo>
                      <a:pt x="689" y="12154"/>
                      <a:pt x="707" y="12143"/>
                      <a:pt x="730" y="12139"/>
                    </a:cubicBezTo>
                    <a:cubicBezTo>
                      <a:pt x="753" y="12135"/>
                      <a:pt x="779" y="12136"/>
                      <a:pt x="802" y="12134"/>
                    </a:cubicBezTo>
                    <a:cubicBezTo>
                      <a:pt x="825" y="12132"/>
                      <a:pt x="850" y="12130"/>
                      <a:pt x="871" y="12126"/>
                    </a:cubicBezTo>
                    <a:cubicBezTo>
                      <a:pt x="891" y="12123"/>
                      <a:pt x="902" y="12117"/>
                      <a:pt x="924" y="12111"/>
                    </a:cubicBezTo>
                    <a:cubicBezTo>
                      <a:pt x="946" y="12105"/>
                      <a:pt x="974" y="12096"/>
                      <a:pt x="1003" y="12091"/>
                    </a:cubicBezTo>
                    <a:cubicBezTo>
                      <a:pt x="1032" y="12086"/>
                      <a:pt x="1080" y="12088"/>
                      <a:pt x="1098" y="12080"/>
                    </a:cubicBezTo>
                    <a:cubicBezTo>
                      <a:pt x="1116" y="12073"/>
                      <a:pt x="1120" y="12056"/>
                      <a:pt x="1113" y="12042"/>
                    </a:cubicBezTo>
                    <a:cubicBezTo>
                      <a:pt x="1106" y="12029"/>
                      <a:pt x="1075" y="12023"/>
                      <a:pt x="1054" y="11999"/>
                    </a:cubicBezTo>
                    <a:cubicBezTo>
                      <a:pt x="1034" y="11974"/>
                      <a:pt x="1010" y="11915"/>
                      <a:pt x="990" y="11894"/>
                    </a:cubicBezTo>
                    <a:cubicBezTo>
                      <a:pt x="969" y="11874"/>
                      <a:pt x="952" y="11877"/>
                      <a:pt x="934" y="11876"/>
                    </a:cubicBezTo>
                    <a:cubicBezTo>
                      <a:pt x="915" y="11875"/>
                      <a:pt x="900" y="11885"/>
                      <a:pt x="875" y="11887"/>
                    </a:cubicBezTo>
                    <a:cubicBezTo>
                      <a:pt x="850" y="11888"/>
                      <a:pt x="799" y="11898"/>
                      <a:pt x="783" y="11889"/>
                    </a:cubicBezTo>
                    <a:cubicBezTo>
                      <a:pt x="767" y="11880"/>
                      <a:pt x="781" y="11851"/>
                      <a:pt x="778" y="11830"/>
                    </a:cubicBezTo>
                    <a:cubicBezTo>
                      <a:pt x="775" y="11810"/>
                      <a:pt x="761" y="11790"/>
                      <a:pt x="763" y="11767"/>
                    </a:cubicBezTo>
                    <a:cubicBezTo>
                      <a:pt x="764" y="11744"/>
                      <a:pt x="776" y="11711"/>
                      <a:pt x="788" y="11693"/>
                    </a:cubicBezTo>
                    <a:cubicBezTo>
                      <a:pt x="800" y="11674"/>
                      <a:pt x="816" y="11664"/>
                      <a:pt x="834" y="11654"/>
                    </a:cubicBezTo>
                    <a:cubicBezTo>
                      <a:pt x="852" y="11645"/>
                      <a:pt x="882" y="11648"/>
                      <a:pt x="895" y="11639"/>
                    </a:cubicBezTo>
                    <a:cubicBezTo>
                      <a:pt x="909" y="11630"/>
                      <a:pt x="908" y="11606"/>
                      <a:pt x="916" y="11598"/>
                    </a:cubicBezTo>
                    <a:cubicBezTo>
                      <a:pt x="923" y="11591"/>
                      <a:pt x="936" y="11601"/>
                      <a:pt x="944" y="11591"/>
                    </a:cubicBezTo>
                    <a:cubicBezTo>
                      <a:pt x="951" y="11580"/>
                      <a:pt x="961" y="11556"/>
                      <a:pt x="964" y="11540"/>
                    </a:cubicBezTo>
                    <a:cubicBezTo>
                      <a:pt x="968" y="11523"/>
                      <a:pt x="967" y="11506"/>
                      <a:pt x="967" y="11491"/>
                    </a:cubicBezTo>
                    <a:cubicBezTo>
                      <a:pt x="967" y="11476"/>
                      <a:pt x="969" y="11456"/>
                      <a:pt x="967" y="11445"/>
                    </a:cubicBezTo>
                    <a:cubicBezTo>
                      <a:pt x="964" y="11434"/>
                      <a:pt x="950" y="11429"/>
                      <a:pt x="951" y="11422"/>
                    </a:cubicBezTo>
                    <a:cubicBezTo>
                      <a:pt x="953" y="11415"/>
                      <a:pt x="959" y="11409"/>
                      <a:pt x="974" y="11402"/>
                    </a:cubicBezTo>
                    <a:cubicBezTo>
                      <a:pt x="990" y="11394"/>
                      <a:pt x="1017" y="11383"/>
                      <a:pt x="1043" y="11376"/>
                    </a:cubicBezTo>
                    <a:cubicBezTo>
                      <a:pt x="1070" y="11369"/>
                      <a:pt x="1104" y="11363"/>
                      <a:pt x="1133" y="11358"/>
                    </a:cubicBezTo>
                    <a:cubicBezTo>
                      <a:pt x="1161" y="11354"/>
                      <a:pt x="1195" y="11353"/>
                      <a:pt x="1219" y="11348"/>
                    </a:cubicBezTo>
                    <a:cubicBezTo>
                      <a:pt x="1244" y="11343"/>
                      <a:pt x="1267" y="11335"/>
                      <a:pt x="1281" y="11328"/>
                    </a:cubicBezTo>
                    <a:cubicBezTo>
                      <a:pt x="1294" y="11321"/>
                      <a:pt x="1301" y="11315"/>
                      <a:pt x="1303" y="11305"/>
                    </a:cubicBezTo>
                    <a:cubicBezTo>
                      <a:pt x="1306" y="11295"/>
                      <a:pt x="1302" y="11279"/>
                      <a:pt x="1298" y="11264"/>
                    </a:cubicBezTo>
                    <a:cubicBezTo>
                      <a:pt x="1295" y="11249"/>
                      <a:pt x="1290" y="11227"/>
                      <a:pt x="1281" y="11213"/>
                    </a:cubicBezTo>
                    <a:cubicBezTo>
                      <a:pt x="1271" y="11199"/>
                      <a:pt x="1258" y="11189"/>
                      <a:pt x="1240" y="11182"/>
                    </a:cubicBezTo>
                    <a:cubicBezTo>
                      <a:pt x="1222" y="11176"/>
                      <a:pt x="1190" y="11183"/>
                      <a:pt x="1173" y="11172"/>
                    </a:cubicBezTo>
                    <a:cubicBezTo>
                      <a:pt x="1157" y="11161"/>
                      <a:pt x="1151" y="11134"/>
                      <a:pt x="1143" y="11114"/>
                    </a:cubicBezTo>
                    <a:cubicBezTo>
                      <a:pt x="1134" y="11093"/>
                      <a:pt x="1129" y="11070"/>
                      <a:pt x="1120" y="11050"/>
                    </a:cubicBezTo>
                    <a:cubicBezTo>
                      <a:pt x="1110" y="11029"/>
                      <a:pt x="1090" y="11005"/>
                      <a:pt x="1087" y="10989"/>
                    </a:cubicBezTo>
                    <a:cubicBezTo>
                      <a:pt x="1083" y="10972"/>
                      <a:pt x="1091" y="10966"/>
                      <a:pt x="1099" y="10953"/>
                    </a:cubicBezTo>
                    <a:cubicBezTo>
                      <a:pt x="1108" y="10939"/>
                      <a:pt x="1122" y="10919"/>
                      <a:pt x="1135" y="10904"/>
                    </a:cubicBezTo>
                    <a:cubicBezTo>
                      <a:pt x="1149" y="10890"/>
                      <a:pt x="1172" y="10880"/>
                      <a:pt x="1181" y="10863"/>
                    </a:cubicBezTo>
                    <a:cubicBezTo>
                      <a:pt x="1190" y="10847"/>
                      <a:pt x="1187" y="10824"/>
                      <a:pt x="1191" y="10810"/>
                    </a:cubicBezTo>
                    <a:cubicBezTo>
                      <a:pt x="1196" y="10795"/>
                      <a:pt x="1202" y="10784"/>
                      <a:pt x="1209" y="10774"/>
                    </a:cubicBezTo>
                    <a:cubicBezTo>
                      <a:pt x="1216" y="10765"/>
                      <a:pt x="1224" y="10761"/>
                      <a:pt x="1232" y="10754"/>
                    </a:cubicBezTo>
                    <a:cubicBezTo>
                      <a:pt x="1241" y="10746"/>
                      <a:pt x="1252" y="10740"/>
                      <a:pt x="1263" y="10726"/>
                    </a:cubicBezTo>
                    <a:cubicBezTo>
                      <a:pt x="1273" y="10711"/>
                      <a:pt x="1278" y="10677"/>
                      <a:pt x="1293" y="10667"/>
                    </a:cubicBezTo>
                    <a:cubicBezTo>
                      <a:pt x="1309" y="10657"/>
                      <a:pt x="1337" y="10660"/>
                      <a:pt x="1355" y="10662"/>
                    </a:cubicBezTo>
                    <a:cubicBezTo>
                      <a:pt x="1372" y="10664"/>
                      <a:pt x="1383" y="10678"/>
                      <a:pt x="1400" y="10680"/>
                    </a:cubicBezTo>
                    <a:cubicBezTo>
                      <a:pt x="1418" y="10682"/>
                      <a:pt x="1442" y="10673"/>
                      <a:pt x="1462" y="10675"/>
                    </a:cubicBezTo>
                    <a:cubicBezTo>
                      <a:pt x="1481" y="10676"/>
                      <a:pt x="1502" y="10684"/>
                      <a:pt x="1520" y="10690"/>
                    </a:cubicBezTo>
                    <a:cubicBezTo>
                      <a:pt x="1538" y="10696"/>
                      <a:pt x="1548" y="10704"/>
                      <a:pt x="1569" y="10713"/>
                    </a:cubicBezTo>
                    <a:cubicBezTo>
                      <a:pt x="1590" y="10721"/>
                      <a:pt x="1622" y="10737"/>
                      <a:pt x="1648" y="10744"/>
                    </a:cubicBezTo>
                    <a:cubicBezTo>
                      <a:pt x="1673" y="10750"/>
                      <a:pt x="1701" y="10750"/>
                      <a:pt x="1724" y="10754"/>
                    </a:cubicBezTo>
                    <a:cubicBezTo>
                      <a:pt x="1747" y="10757"/>
                      <a:pt x="1765" y="10763"/>
                      <a:pt x="1786" y="10764"/>
                    </a:cubicBezTo>
                    <a:cubicBezTo>
                      <a:pt x="1806" y="10765"/>
                      <a:pt x="1827" y="10762"/>
                      <a:pt x="1849" y="10761"/>
                    </a:cubicBezTo>
                    <a:cubicBezTo>
                      <a:pt x="1871" y="10761"/>
                      <a:pt x="1905" y="10776"/>
                      <a:pt x="1918" y="10761"/>
                    </a:cubicBezTo>
                    <a:cubicBezTo>
                      <a:pt x="1932" y="10747"/>
                      <a:pt x="1924" y="10704"/>
                      <a:pt x="1931" y="10677"/>
                    </a:cubicBezTo>
                    <a:cubicBezTo>
                      <a:pt x="1938" y="10650"/>
                      <a:pt x="1950" y="10623"/>
                      <a:pt x="1959" y="10596"/>
                    </a:cubicBezTo>
                    <a:cubicBezTo>
                      <a:pt x="1968" y="10568"/>
                      <a:pt x="1978" y="10541"/>
                      <a:pt x="1990" y="10511"/>
                    </a:cubicBezTo>
                    <a:cubicBezTo>
                      <a:pt x="2002" y="10482"/>
                      <a:pt x="2019" y="10444"/>
                      <a:pt x="2030" y="10417"/>
                    </a:cubicBezTo>
                    <a:cubicBezTo>
                      <a:pt x="2042" y="10390"/>
                      <a:pt x="2052" y="10373"/>
                      <a:pt x="2061" y="10348"/>
                    </a:cubicBezTo>
                    <a:cubicBezTo>
                      <a:pt x="2070" y="10324"/>
                      <a:pt x="2080" y="10295"/>
                      <a:pt x="2087" y="10269"/>
                    </a:cubicBezTo>
                    <a:cubicBezTo>
                      <a:pt x="2093" y="10244"/>
                      <a:pt x="2104" y="10215"/>
                      <a:pt x="2104" y="10195"/>
                    </a:cubicBezTo>
                    <a:cubicBezTo>
                      <a:pt x="2104" y="10176"/>
                      <a:pt x="2096" y="10167"/>
                      <a:pt x="2084" y="10149"/>
                    </a:cubicBezTo>
                    <a:cubicBezTo>
                      <a:pt x="2072" y="10131"/>
                      <a:pt x="2042" y="10110"/>
                      <a:pt x="2030" y="10088"/>
                    </a:cubicBezTo>
                    <a:cubicBezTo>
                      <a:pt x="2019" y="10066"/>
                      <a:pt x="2010" y="10042"/>
                      <a:pt x="2010" y="10017"/>
                    </a:cubicBezTo>
                    <a:cubicBezTo>
                      <a:pt x="2010" y="9991"/>
                      <a:pt x="2022" y="9959"/>
                      <a:pt x="2033" y="9932"/>
                    </a:cubicBezTo>
                    <a:cubicBezTo>
                      <a:pt x="2044" y="9906"/>
                      <a:pt x="2063" y="9881"/>
                      <a:pt x="2079" y="9856"/>
                    </a:cubicBezTo>
                    <a:cubicBezTo>
                      <a:pt x="2095" y="9830"/>
                      <a:pt x="2107" y="9809"/>
                      <a:pt x="2130" y="9779"/>
                    </a:cubicBezTo>
                    <a:cubicBezTo>
                      <a:pt x="2153" y="9749"/>
                      <a:pt x="2198" y="9702"/>
                      <a:pt x="2219" y="9677"/>
                    </a:cubicBezTo>
                    <a:cubicBezTo>
                      <a:pt x="2241" y="9653"/>
                      <a:pt x="2246" y="9645"/>
                      <a:pt x="2260" y="9629"/>
                    </a:cubicBezTo>
                    <a:cubicBezTo>
                      <a:pt x="2275" y="9613"/>
                      <a:pt x="2289" y="9600"/>
                      <a:pt x="2309" y="9580"/>
                    </a:cubicBezTo>
                    <a:cubicBezTo>
                      <a:pt x="2328" y="9561"/>
                      <a:pt x="2357" y="9533"/>
                      <a:pt x="2380" y="9509"/>
                    </a:cubicBezTo>
                    <a:cubicBezTo>
                      <a:pt x="2403" y="9484"/>
                      <a:pt x="2428" y="9453"/>
                      <a:pt x="2445" y="9430"/>
                    </a:cubicBezTo>
                    <a:cubicBezTo>
                      <a:pt x="2461" y="9407"/>
                      <a:pt x="2467" y="9391"/>
                      <a:pt x="2479" y="9371"/>
                    </a:cubicBezTo>
                    <a:cubicBezTo>
                      <a:pt x="2492" y="9351"/>
                      <a:pt x="2508" y="9346"/>
                      <a:pt x="2523" y="9305"/>
                    </a:cubicBezTo>
                    <a:cubicBezTo>
                      <a:pt x="2538" y="9263"/>
                      <a:pt x="2559" y="9165"/>
                      <a:pt x="2571" y="9119"/>
                    </a:cubicBezTo>
                    <a:cubicBezTo>
                      <a:pt x="2584" y="9072"/>
                      <a:pt x="2593" y="9052"/>
                      <a:pt x="2599" y="9024"/>
                    </a:cubicBezTo>
                    <a:cubicBezTo>
                      <a:pt x="2605" y="8996"/>
                      <a:pt x="2604" y="8977"/>
                      <a:pt x="2610" y="8950"/>
                    </a:cubicBezTo>
                    <a:cubicBezTo>
                      <a:pt x="2615" y="8923"/>
                      <a:pt x="2627" y="8888"/>
                      <a:pt x="2635" y="8861"/>
                    </a:cubicBezTo>
                    <a:cubicBezTo>
                      <a:pt x="2644" y="8834"/>
                      <a:pt x="2649" y="8813"/>
                      <a:pt x="2658" y="8787"/>
                    </a:cubicBezTo>
                    <a:cubicBezTo>
                      <a:pt x="2667" y="8760"/>
                      <a:pt x="2681" y="8731"/>
                      <a:pt x="2689" y="8705"/>
                    </a:cubicBezTo>
                    <a:cubicBezTo>
                      <a:pt x="2696" y="8680"/>
                      <a:pt x="2699" y="8663"/>
                      <a:pt x="2704" y="8634"/>
                    </a:cubicBezTo>
                    <a:cubicBezTo>
                      <a:pt x="2709" y="8605"/>
                      <a:pt x="2701" y="8542"/>
                      <a:pt x="2719" y="8532"/>
                    </a:cubicBezTo>
                    <a:cubicBezTo>
                      <a:pt x="2737" y="8522"/>
                      <a:pt x="2783" y="8564"/>
                      <a:pt x="2811" y="8570"/>
                    </a:cubicBezTo>
                    <a:cubicBezTo>
                      <a:pt x="2839" y="8576"/>
                      <a:pt x="2858" y="8570"/>
                      <a:pt x="2888" y="8567"/>
                    </a:cubicBezTo>
                    <a:cubicBezTo>
                      <a:pt x="2917" y="8565"/>
                      <a:pt x="2957" y="8558"/>
                      <a:pt x="2990" y="8555"/>
                    </a:cubicBezTo>
                    <a:cubicBezTo>
                      <a:pt x="3022" y="8551"/>
                      <a:pt x="3064" y="8539"/>
                      <a:pt x="3084" y="8547"/>
                    </a:cubicBezTo>
                    <a:cubicBezTo>
                      <a:pt x="3104" y="8556"/>
                      <a:pt x="3100" y="8586"/>
                      <a:pt x="3107" y="8606"/>
                    </a:cubicBezTo>
                    <a:cubicBezTo>
                      <a:pt x="3114" y="8625"/>
                      <a:pt x="3116" y="8647"/>
                      <a:pt x="3127" y="8667"/>
                    </a:cubicBezTo>
                    <a:cubicBezTo>
                      <a:pt x="3138" y="8687"/>
                      <a:pt x="3161" y="8711"/>
                      <a:pt x="3176" y="8731"/>
                    </a:cubicBezTo>
                    <a:cubicBezTo>
                      <a:pt x="3191" y="8750"/>
                      <a:pt x="3200" y="8778"/>
                      <a:pt x="3222" y="8787"/>
                    </a:cubicBezTo>
                    <a:cubicBezTo>
                      <a:pt x="3244" y="8795"/>
                      <a:pt x="3282" y="8786"/>
                      <a:pt x="3306" y="8782"/>
                    </a:cubicBezTo>
                    <a:cubicBezTo>
                      <a:pt x="3330" y="8777"/>
                      <a:pt x="3349" y="8763"/>
                      <a:pt x="3367" y="8761"/>
                    </a:cubicBezTo>
                    <a:cubicBezTo>
                      <a:pt x="3385" y="8760"/>
                      <a:pt x="3401" y="8772"/>
                      <a:pt x="3416" y="8772"/>
                    </a:cubicBezTo>
                    <a:cubicBezTo>
                      <a:pt x="3430" y="8771"/>
                      <a:pt x="3439" y="8756"/>
                      <a:pt x="3454" y="8756"/>
                    </a:cubicBezTo>
                    <a:cubicBezTo>
                      <a:pt x="3468" y="8756"/>
                      <a:pt x="3487" y="8771"/>
                      <a:pt x="3505" y="8772"/>
                    </a:cubicBezTo>
                    <a:cubicBezTo>
                      <a:pt x="3523" y="8772"/>
                      <a:pt x="3538" y="8769"/>
                      <a:pt x="3561" y="8764"/>
                    </a:cubicBezTo>
                    <a:cubicBezTo>
                      <a:pt x="3584" y="8759"/>
                      <a:pt x="3619" y="8747"/>
                      <a:pt x="3643" y="8741"/>
                    </a:cubicBezTo>
                    <a:cubicBezTo>
                      <a:pt x="3666" y="8735"/>
                      <a:pt x="3686" y="8732"/>
                      <a:pt x="3706" y="8726"/>
                    </a:cubicBezTo>
                    <a:cubicBezTo>
                      <a:pt x="3727" y="8720"/>
                      <a:pt x="3755" y="8718"/>
                      <a:pt x="3768" y="8705"/>
                    </a:cubicBezTo>
                    <a:cubicBezTo>
                      <a:pt x="3780" y="8692"/>
                      <a:pt x="3783" y="8671"/>
                      <a:pt x="3783" y="8647"/>
                    </a:cubicBezTo>
                    <a:cubicBezTo>
                      <a:pt x="3783" y="8622"/>
                      <a:pt x="3772" y="8582"/>
                      <a:pt x="3768" y="8557"/>
                    </a:cubicBezTo>
                    <a:cubicBezTo>
                      <a:pt x="3763" y="8533"/>
                      <a:pt x="3769" y="8522"/>
                      <a:pt x="3757" y="8499"/>
                    </a:cubicBezTo>
                    <a:cubicBezTo>
                      <a:pt x="3746" y="8475"/>
                      <a:pt x="3710" y="8442"/>
                      <a:pt x="3694" y="8412"/>
                    </a:cubicBezTo>
                    <a:cubicBezTo>
                      <a:pt x="3678" y="8382"/>
                      <a:pt x="3667" y="8350"/>
                      <a:pt x="3663" y="8323"/>
                    </a:cubicBezTo>
                    <a:cubicBezTo>
                      <a:pt x="3659" y="8295"/>
                      <a:pt x="3660" y="8270"/>
                      <a:pt x="3671" y="8249"/>
                    </a:cubicBezTo>
                    <a:cubicBezTo>
                      <a:pt x="3681" y="8227"/>
                      <a:pt x="3703" y="8205"/>
                      <a:pt x="3727" y="8195"/>
                    </a:cubicBezTo>
                    <a:cubicBezTo>
                      <a:pt x="3751" y="8185"/>
                      <a:pt x="3792" y="8195"/>
                      <a:pt x="3816" y="8187"/>
                    </a:cubicBezTo>
                    <a:cubicBezTo>
                      <a:pt x="3840" y="8180"/>
                      <a:pt x="3851" y="8163"/>
                      <a:pt x="3870" y="8149"/>
                    </a:cubicBezTo>
                    <a:cubicBezTo>
                      <a:pt x="3888" y="8135"/>
                      <a:pt x="3910" y="8121"/>
                      <a:pt x="3928" y="8103"/>
                    </a:cubicBezTo>
                    <a:cubicBezTo>
                      <a:pt x="3947" y="8085"/>
                      <a:pt x="3962" y="8050"/>
                      <a:pt x="3984" y="8039"/>
                    </a:cubicBezTo>
                    <a:cubicBezTo>
                      <a:pt x="4007" y="8029"/>
                      <a:pt x="4036" y="8041"/>
                      <a:pt x="4069" y="8042"/>
                    </a:cubicBezTo>
                    <a:cubicBezTo>
                      <a:pt x="4101" y="8043"/>
                      <a:pt x="4153" y="8039"/>
                      <a:pt x="4178" y="8042"/>
                    </a:cubicBezTo>
                    <a:cubicBezTo>
                      <a:pt x="4204" y="8044"/>
                      <a:pt x="4205" y="8056"/>
                      <a:pt x="4222" y="8060"/>
                    </a:cubicBezTo>
                    <a:cubicBezTo>
                      <a:pt x="4239" y="8063"/>
                      <a:pt x="4264" y="8061"/>
                      <a:pt x="4280" y="8062"/>
                    </a:cubicBezTo>
                    <a:cubicBezTo>
                      <a:pt x="4297" y="8064"/>
                      <a:pt x="4307" y="8067"/>
                      <a:pt x="4319" y="8073"/>
                    </a:cubicBezTo>
                    <a:cubicBezTo>
                      <a:pt x="4331" y="8078"/>
                      <a:pt x="4345" y="8087"/>
                      <a:pt x="4352" y="8098"/>
                    </a:cubicBezTo>
                    <a:cubicBezTo>
                      <a:pt x="4359" y="8109"/>
                      <a:pt x="4356" y="8128"/>
                      <a:pt x="4359" y="8139"/>
                    </a:cubicBezTo>
                    <a:cubicBezTo>
                      <a:pt x="4363" y="8150"/>
                      <a:pt x="4363" y="8161"/>
                      <a:pt x="4372" y="8162"/>
                    </a:cubicBezTo>
                    <a:cubicBezTo>
                      <a:pt x="4382" y="8163"/>
                      <a:pt x="4399" y="8155"/>
                      <a:pt x="4418" y="8147"/>
                    </a:cubicBezTo>
                    <a:cubicBezTo>
                      <a:pt x="4437" y="8138"/>
                      <a:pt x="4467" y="8118"/>
                      <a:pt x="4484" y="8108"/>
                    </a:cubicBezTo>
                    <a:cubicBezTo>
                      <a:pt x="4502" y="8099"/>
                      <a:pt x="4509" y="8093"/>
                      <a:pt x="4523" y="8093"/>
                    </a:cubicBezTo>
                    <a:cubicBezTo>
                      <a:pt x="4536" y="8093"/>
                      <a:pt x="4559" y="8114"/>
                      <a:pt x="4566" y="8108"/>
                    </a:cubicBezTo>
                    <a:cubicBezTo>
                      <a:pt x="4573" y="8102"/>
                      <a:pt x="4569" y="8072"/>
                      <a:pt x="4566" y="8055"/>
                    </a:cubicBezTo>
                    <a:cubicBezTo>
                      <a:pt x="4564" y="8038"/>
                      <a:pt x="4553" y="8022"/>
                      <a:pt x="4551" y="8004"/>
                    </a:cubicBezTo>
                    <a:cubicBezTo>
                      <a:pt x="4548" y="7985"/>
                      <a:pt x="4552" y="7961"/>
                      <a:pt x="4553" y="7942"/>
                    </a:cubicBezTo>
                    <a:cubicBezTo>
                      <a:pt x="4555" y="7924"/>
                      <a:pt x="4561" y="7908"/>
                      <a:pt x="4561" y="7891"/>
                    </a:cubicBezTo>
                    <a:cubicBezTo>
                      <a:pt x="4561" y="7875"/>
                      <a:pt x="4553" y="7863"/>
                      <a:pt x="4551" y="7843"/>
                    </a:cubicBezTo>
                    <a:cubicBezTo>
                      <a:pt x="4548" y="7823"/>
                      <a:pt x="4547" y="7789"/>
                      <a:pt x="4543" y="7769"/>
                    </a:cubicBezTo>
                    <a:cubicBezTo>
                      <a:pt x="4539" y="7749"/>
                      <a:pt x="4525" y="7736"/>
                      <a:pt x="4523" y="7718"/>
                    </a:cubicBezTo>
                    <a:cubicBezTo>
                      <a:pt x="4520" y="7700"/>
                      <a:pt x="4529" y="7680"/>
                      <a:pt x="4528" y="7662"/>
                    </a:cubicBezTo>
                    <a:cubicBezTo>
                      <a:pt x="4526" y="7643"/>
                      <a:pt x="4523" y="7612"/>
                      <a:pt x="4510" y="7606"/>
                    </a:cubicBezTo>
                    <a:cubicBezTo>
                      <a:pt x="4497" y="7599"/>
                      <a:pt x="4473" y="7613"/>
                      <a:pt x="4449" y="7621"/>
                    </a:cubicBezTo>
                    <a:cubicBezTo>
                      <a:pt x="4424" y="7629"/>
                      <a:pt x="4388" y="7640"/>
                      <a:pt x="4359" y="7652"/>
                    </a:cubicBezTo>
                    <a:cubicBezTo>
                      <a:pt x="4331" y="7663"/>
                      <a:pt x="4299" y="7681"/>
                      <a:pt x="4273" y="7695"/>
                    </a:cubicBezTo>
                    <a:cubicBezTo>
                      <a:pt x="4246" y="7709"/>
                      <a:pt x="4215" y="7737"/>
                      <a:pt x="4201" y="7733"/>
                    </a:cubicBezTo>
                    <a:cubicBezTo>
                      <a:pt x="4188" y="7729"/>
                      <a:pt x="4189" y="7686"/>
                      <a:pt x="4191" y="7667"/>
                    </a:cubicBezTo>
                    <a:cubicBezTo>
                      <a:pt x="4194" y="7647"/>
                      <a:pt x="4217" y="7630"/>
                      <a:pt x="4219" y="7613"/>
                    </a:cubicBezTo>
                    <a:cubicBezTo>
                      <a:pt x="4221" y="7596"/>
                      <a:pt x="4208" y="7582"/>
                      <a:pt x="4204" y="7565"/>
                    </a:cubicBezTo>
                    <a:cubicBezTo>
                      <a:pt x="4200" y="7548"/>
                      <a:pt x="4184" y="7528"/>
                      <a:pt x="4194" y="7509"/>
                    </a:cubicBezTo>
                    <a:cubicBezTo>
                      <a:pt x="4203" y="7489"/>
                      <a:pt x="4244" y="7469"/>
                      <a:pt x="4263" y="7447"/>
                    </a:cubicBezTo>
                    <a:cubicBezTo>
                      <a:pt x="4281" y="7426"/>
                      <a:pt x="4291" y="7387"/>
                      <a:pt x="4308" y="7379"/>
                    </a:cubicBezTo>
                    <a:cubicBezTo>
                      <a:pt x="4325" y="7370"/>
                      <a:pt x="4343" y="7399"/>
                      <a:pt x="4365" y="7396"/>
                    </a:cubicBezTo>
                    <a:cubicBezTo>
                      <a:pt x="4386" y="7394"/>
                      <a:pt x="4423" y="7376"/>
                      <a:pt x="4436" y="7361"/>
                    </a:cubicBezTo>
                    <a:cubicBezTo>
                      <a:pt x="4449" y="7345"/>
                      <a:pt x="4426" y="7322"/>
                      <a:pt x="4441" y="7307"/>
                    </a:cubicBezTo>
                    <a:cubicBezTo>
                      <a:pt x="4456" y="7293"/>
                      <a:pt x="4501" y="7291"/>
                      <a:pt x="4525" y="7277"/>
                    </a:cubicBezTo>
                    <a:cubicBezTo>
                      <a:pt x="4550" y="7262"/>
                      <a:pt x="4564" y="7243"/>
                      <a:pt x="4586" y="7223"/>
                    </a:cubicBezTo>
                    <a:cubicBezTo>
                      <a:pt x="4609" y="7203"/>
                      <a:pt x="4643" y="7173"/>
                      <a:pt x="4666" y="7152"/>
                    </a:cubicBezTo>
                    <a:cubicBezTo>
                      <a:pt x="4688" y="7130"/>
                      <a:pt x="4698" y="7123"/>
                      <a:pt x="4722" y="7098"/>
                    </a:cubicBezTo>
                    <a:cubicBezTo>
                      <a:pt x="4745" y="7072"/>
                      <a:pt x="4778" y="7019"/>
                      <a:pt x="4808" y="6996"/>
                    </a:cubicBezTo>
                    <a:cubicBezTo>
                      <a:pt x="4839" y="6973"/>
                      <a:pt x="4877" y="6943"/>
                      <a:pt x="4905" y="6960"/>
                    </a:cubicBezTo>
                    <a:cubicBezTo>
                      <a:pt x="4933" y="6977"/>
                      <a:pt x="4951" y="7055"/>
                      <a:pt x="4979" y="7098"/>
                    </a:cubicBezTo>
                    <a:cubicBezTo>
                      <a:pt x="5007" y="7141"/>
                      <a:pt x="5048" y="7180"/>
                      <a:pt x="5076" y="7223"/>
                    </a:cubicBezTo>
                    <a:cubicBezTo>
                      <a:pt x="5104" y="7266"/>
                      <a:pt x="5154" y="7328"/>
                      <a:pt x="5150" y="7353"/>
                    </a:cubicBezTo>
                    <a:cubicBezTo>
                      <a:pt x="5146" y="7379"/>
                      <a:pt x="5068" y="7357"/>
                      <a:pt x="5051" y="7376"/>
                    </a:cubicBezTo>
                    <a:cubicBezTo>
                      <a:pt x="5034" y="7396"/>
                      <a:pt x="5046" y="7441"/>
                      <a:pt x="5046" y="7473"/>
                    </a:cubicBezTo>
                    <a:cubicBezTo>
                      <a:pt x="5045" y="7505"/>
                      <a:pt x="5041" y="7542"/>
                      <a:pt x="5048" y="7570"/>
                    </a:cubicBezTo>
                    <a:cubicBezTo>
                      <a:pt x="5055" y="7598"/>
                      <a:pt x="5072" y="7622"/>
                      <a:pt x="5086" y="7641"/>
                    </a:cubicBezTo>
                    <a:cubicBezTo>
                      <a:pt x="5101" y="7661"/>
                      <a:pt x="5120" y="7672"/>
                      <a:pt x="5135" y="7690"/>
                    </a:cubicBezTo>
                    <a:cubicBezTo>
                      <a:pt x="5150" y="7708"/>
                      <a:pt x="5166" y="7755"/>
                      <a:pt x="5178" y="7751"/>
                    </a:cubicBezTo>
                    <a:cubicBezTo>
                      <a:pt x="5191" y="7747"/>
                      <a:pt x="5193" y="7680"/>
                      <a:pt x="5211" y="7662"/>
                    </a:cubicBezTo>
                    <a:cubicBezTo>
                      <a:pt x="5230" y="7643"/>
                      <a:pt x="5272" y="7636"/>
                      <a:pt x="5293" y="7636"/>
                    </a:cubicBezTo>
                    <a:cubicBezTo>
                      <a:pt x="5314" y="7636"/>
                      <a:pt x="5322" y="7653"/>
                      <a:pt x="5339" y="7662"/>
                    </a:cubicBezTo>
                    <a:cubicBezTo>
                      <a:pt x="5356" y="7670"/>
                      <a:pt x="5381" y="7689"/>
                      <a:pt x="5398" y="7690"/>
                    </a:cubicBezTo>
                    <a:cubicBezTo>
                      <a:pt x="5415" y="7691"/>
                      <a:pt x="5431" y="7677"/>
                      <a:pt x="5441" y="7664"/>
                    </a:cubicBezTo>
                    <a:cubicBezTo>
                      <a:pt x="5451" y="7652"/>
                      <a:pt x="5458" y="7631"/>
                      <a:pt x="5461" y="7613"/>
                    </a:cubicBezTo>
                    <a:cubicBezTo>
                      <a:pt x="5465" y="7595"/>
                      <a:pt x="5461" y="7581"/>
                      <a:pt x="5459" y="7560"/>
                    </a:cubicBezTo>
                    <a:cubicBezTo>
                      <a:pt x="5456" y="7538"/>
                      <a:pt x="5450" y="7506"/>
                      <a:pt x="5446" y="7483"/>
                    </a:cubicBezTo>
                    <a:cubicBezTo>
                      <a:pt x="5443" y="7460"/>
                      <a:pt x="5444" y="7437"/>
                      <a:pt x="5438" y="7419"/>
                    </a:cubicBezTo>
                    <a:cubicBezTo>
                      <a:pt x="5433" y="7402"/>
                      <a:pt x="5408" y="7388"/>
                      <a:pt x="5415" y="7376"/>
                    </a:cubicBezTo>
                    <a:cubicBezTo>
                      <a:pt x="5423" y="7364"/>
                      <a:pt x="5461" y="7354"/>
                      <a:pt x="5484" y="7348"/>
                    </a:cubicBezTo>
                    <a:cubicBezTo>
                      <a:pt x="5508" y="7342"/>
                      <a:pt x="5544" y="7356"/>
                      <a:pt x="5558" y="7343"/>
                    </a:cubicBezTo>
                    <a:cubicBezTo>
                      <a:pt x="5573" y="7330"/>
                      <a:pt x="5571" y="7289"/>
                      <a:pt x="5569" y="7274"/>
                    </a:cubicBezTo>
                    <a:cubicBezTo>
                      <a:pt x="5566" y="7259"/>
                      <a:pt x="5543" y="7260"/>
                      <a:pt x="5540" y="7249"/>
                    </a:cubicBezTo>
                    <a:cubicBezTo>
                      <a:pt x="5538" y="7237"/>
                      <a:pt x="5535" y="7214"/>
                      <a:pt x="5551" y="7205"/>
                    </a:cubicBezTo>
                    <a:cubicBezTo>
                      <a:pt x="5567" y="7196"/>
                      <a:pt x="5601" y="7195"/>
                      <a:pt x="5637" y="7192"/>
                    </a:cubicBezTo>
                    <a:cubicBezTo>
                      <a:pt x="5674" y="7190"/>
                      <a:pt x="5734" y="7197"/>
                      <a:pt x="5770" y="7190"/>
                    </a:cubicBezTo>
                    <a:cubicBezTo>
                      <a:pt x="5806" y="7182"/>
                      <a:pt x="5829" y="7160"/>
                      <a:pt x="5854" y="7146"/>
                    </a:cubicBezTo>
                    <a:cubicBezTo>
                      <a:pt x="5880" y="7133"/>
                      <a:pt x="5898" y="7121"/>
                      <a:pt x="5923" y="7108"/>
                    </a:cubicBezTo>
                    <a:cubicBezTo>
                      <a:pt x="5948" y="7095"/>
                      <a:pt x="5972" y="7084"/>
                      <a:pt x="6000" y="7070"/>
                    </a:cubicBezTo>
                    <a:cubicBezTo>
                      <a:pt x="6028" y="7056"/>
                      <a:pt x="6060" y="7039"/>
                      <a:pt x="6091" y="7024"/>
                    </a:cubicBezTo>
                    <a:cubicBezTo>
                      <a:pt x="6123" y="7009"/>
                      <a:pt x="6158" y="6993"/>
                      <a:pt x="6191" y="6976"/>
                    </a:cubicBezTo>
                    <a:cubicBezTo>
                      <a:pt x="6224" y="6958"/>
                      <a:pt x="6280" y="6936"/>
                      <a:pt x="6293" y="6917"/>
                    </a:cubicBezTo>
                    <a:cubicBezTo>
                      <a:pt x="6306" y="6898"/>
                      <a:pt x="6277" y="6884"/>
                      <a:pt x="6267" y="6863"/>
                    </a:cubicBezTo>
                    <a:cubicBezTo>
                      <a:pt x="6258" y="6843"/>
                      <a:pt x="6252" y="6818"/>
                      <a:pt x="6237" y="6794"/>
                    </a:cubicBezTo>
                    <a:cubicBezTo>
                      <a:pt x="6222" y="6771"/>
                      <a:pt x="6194" y="6743"/>
                      <a:pt x="6176" y="6720"/>
                    </a:cubicBezTo>
                    <a:cubicBezTo>
                      <a:pt x="6157" y="6697"/>
                      <a:pt x="6142" y="6675"/>
                      <a:pt x="6125" y="6654"/>
                    </a:cubicBezTo>
                    <a:cubicBezTo>
                      <a:pt x="6107" y="6633"/>
                      <a:pt x="6086" y="6617"/>
                      <a:pt x="6066" y="6593"/>
                    </a:cubicBezTo>
                    <a:cubicBezTo>
                      <a:pt x="6046" y="6569"/>
                      <a:pt x="6018" y="6535"/>
                      <a:pt x="6002" y="6511"/>
                    </a:cubicBezTo>
                    <a:cubicBezTo>
                      <a:pt x="5986" y="6487"/>
                      <a:pt x="5980" y="6466"/>
                      <a:pt x="5966" y="6447"/>
                    </a:cubicBezTo>
                    <a:cubicBezTo>
                      <a:pt x="5953" y="6429"/>
                      <a:pt x="5947" y="6407"/>
                      <a:pt x="5921" y="6396"/>
                    </a:cubicBezTo>
                    <a:cubicBezTo>
                      <a:pt x="5894" y="6386"/>
                      <a:pt x="5847" y="6390"/>
                      <a:pt x="5808" y="6386"/>
                    </a:cubicBezTo>
                    <a:cubicBezTo>
                      <a:pt x="5769" y="6383"/>
                      <a:pt x="5706" y="6390"/>
                      <a:pt x="5688" y="6379"/>
                    </a:cubicBezTo>
                    <a:cubicBezTo>
                      <a:pt x="5671" y="6368"/>
                      <a:pt x="5710" y="6328"/>
                      <a:pt x="5699" y="6320"/>
                    </a:cubicBezTo>
                    <a:cubicBezTo>
                      <a:pt x="5688" y="6312"/>
                      <a:pt x="5649" y="6325"/>
                      <a:pt x="5622" y="6330"/>
                    </a:cubicBezTo>
                    <a:cubicBezTo>
                      <a:pt x="5595" y="6335"/>
                      <a:pt x="5565" y="6343"/>
                      <a:pt x="5535" y="6348"/>
                    </a:cubicBezTo>
                    <a:cubicBezTo>
                      <a:pt x="5506" y="6353"/>
                      <a:pt x="5469" y="6359"/>
                      <a:pt x="5441" y="6363"/>
                    </a:cubicBezTo>
                    <a:cubicBezTo>
                      <a:pt x="5413" y="6368"/>
                      <a:pt x="5393" y="6372"/>
                      <a:pt x="5368" y="6376"/>
                    </a:cubicBezTo>
                    <a:cubicBezTo>
                      <a:pt x="5343" y="6380"/>
                      <a:pt x="5320" y="6385"/>
                      <a:pt x="5294" y="6391"/>
                    </a:cubicBezTo>
                    <a:cubicBezTo>
                      <a:pt x="5268" y="6397"/>
                      <a:pt x="5234" y="6408"/>
                      <a:pt x="5210" y="6414"/>
                    </a:cubicBezTo>
                    <a:cubicBezTo>
                      <a:pt x="5186" y="6420"/>
                      <a:pt x="5172" y="6423"/>
                      <a:pt x="5149" y="6430"/>
                    </a:cubicBezTo>
                    <a:cubicBezTo>
                      <a:pt x="5125" y="6436"/>
                      <a:pt x="5080" y="6468"/>
                      <a:pt x="5067" y="6455"/>
                    </a:cubicBezTo>
                    <a:cubicBezTo>
                      <a:pt x="5053" y="6442"/>
                      <a:pt x="5067" y="6389"/>
                      <a:pt x="5067" y="6353"/>
                    </a:cubicBezTo>
                    <a:cubicBezTo>
                      <a:pt x="5067" y="6317"/>
                      <a:pt x="5068" y="6279"/>
                      <a:pt x="5067" y="6241"/>
                    </a:cubicBezTo>
                    <a:cubicBezTo>
                      <a:pt x="5066" y="6203"/>
                      <a:pt x="5066" y="6160"/>
                      <a:pt x="5064" y="6123"/>
                    </a:cubicBezTo>
                    <a:cubicBezTo>
                      <a:pt x="5063" y="6087"/>
                      <a:pt x="5065" y="6050"/>
                      <a:pt x="5057" y="6021"/>
                    </a:cubicBezTo>
                    <a:cubicBezTo>
                      <a:pt x="5048" y="5992"/>
                      <a:pt x="5026" y="5963"/>
                      <a:pt x="5013" y="5947"/>
                    </a:cubicBezTo>
                    <a:cubicBezTo>
                      <a:pt x="5001" y="5932"/>
                      <a:pt x="4992" y="5938"/>
                      <a:pt x="4978" y="5927"/>
                    </a:cubicBezTo>
                    <a:cubicBezTo>
                      <a:pt x="4963" y="5916"/>
                      <a:pt x="4927" y="5896"/>
                      <a:pt x="4924" y="5881"/>
                    </a:cubicBezTo>
                    <a:cubicBezTo>
                      <a:pt x="4921" y="5867"/>
                      <a:pt x="4950" y="5852"/>
                      <a:pt x="4960" y="5838"/>
                    </a:cubicBezTo>
                    <a:cubicBezTo>
                      <a:pt x="4969" y="5823"/>
                      <a:pt x="4971" y="5806"/>
                      <a:pt x="4983" y="5797"/>
                    </a:cubicBezTo>
                    <a:cubicBezTo>
                      <a:pt x="4995" y="5788"/>
                      <a:pt x="5022" y="5787"/>
                      <a:pt x="5029" y="5779"/>
                    </a:cubicBezTo>
                    <a:cubicBezTo>
                      <a:pt x="5035" y="5771"/>
                      <a:pt x="5026" y="5759"/>
                      <a:pt x="5024" y="5751"/>
                    </a:cubicBezTo>
                    <a:cubicBezTo>
                      <a:pt x="5021" y="5742"/>
                      <a:pt x="5024" y="5728"/>
                      <a:pt x="5011" y="5725"/>
                    </a:cubicBezTo>
                    <a:cubicBezTo>
                      <a:pt x="4998" y="5723"/>
                      <a:pt x="4971" y="5739"/>
                      <a:pt x="4947" y="5736"/>
                    </a:cubicBezTo>
                    <a:cubicBezTo>
                      <a:pt x="4923" y="5732"/>
                      <a:pt x="4880" y="5716"/>
                      <a:pt x="4865" y="5705"/>
                    </a:cubicBezTo>
                    <a:cubicBezTo>
                      <a:pt x="4851" y="5694"/>
                      <a:pt x="4858" y="5683"/>
                      <a:pt x="4858" y="5669"/>
                    </a:cubicBezTo>
                    <a:cubicBezTo>
                      <a:pt x="4858" y="5656"/>
                      <a:pt x="4862" y="5635"/>
                      <a:pt x="4865" y="5621"/>
                    </a:cubicBezTo>
                    <a:cubicBezTo>
                      <a:pt x="4869" y="5606"/>
                      <a:pt x="4873" y="5590"/>
                      <a:pt x="4881" y="5583"/>
                    </a:cubicBezTo>
                    <a:cubicBezTo>
                      <a:pt x="4888" y="5575"/>
                      <a:pt x="4906" y="5577"/>
                      <a:pt x="4914" y="5572"/>
                    </a:cubicBezTo>
                    <a:cubicBezTo>
                      <a:pt x="4921" y="5567"/>
                      <a:pt x="4920" y="5560"/>
                      <a:pt x="4927" y="5552"/>
                    </a:cubicBezTo>
                    <a:cubicBezTo>
                      <a:pt x="4933" y="5544"/>
                      <a:pt x="4951" y="5539"/>
                      <a:pt x="4957" y="5524"/>
                    </a:cubicBezTo>
                    <a:cubicBezTo>
                      <a:pt x="4963" y="5509"/>
                      <a:pt x="4967" y="5474"/>
                      <a:pt x="4962" y="5458"/>
                    </a:cubicBezTo>
                    <a:cubicBezTo>
                      <a:pt x="4958" y="5441"/>
                      <a:pt x="4949" y="5435"/>
                      <a:pt x="4932" y="5427"/>
                    </a:cubicBezTo>
                    <a:cubicBezTo>
                      <a:pt x="4915" y="5419"/>
                      <a:pt x="4882" y="5417"/>
                      <a:pt x="4860" y="5412"/>
                    </a:cubicBezTo>
                    <a:cubicBezTo>
                      <a:pt x="4838" y="5407"/>
                      <a:pt x="4815" y="5401"/>
                      <a:pt x="4796" y="5394"/>
                    </a:cubicBezTo>
                    <a:cubicBezTo>
                      <a:pt x="4778" y="5386"/>
                      <a:pt x="4757" y="5380"/>
                      <a:pt x="4748" y="5368"/>
                    </a:cubicBezTo>
                    <a:cubicBezTo>
                      <a:pt x="4740" y="5356"/>
                      <a:pt x="4746" y="5339"/>
                      <a:pt x="4748" y="5322"/>
                    </a:cubicBezTo>
                    <a:cubicBezTo>
                      <a:pt x="4750" y="5306"/>
                      <a:pt x="4747" y="5278"/>
                      <a:pt x="4758" y="5269"/>
                    </a:cubicBezTo>
                    <a:cubicBezTo>
                      <a:pt x="4769" y="5259"/>
                      <a:pt x="4803" y="5273"/>
                      <a:pt x="4817" y="5266"/>
                    </a:cubicBezTo>
                    <a:cubicBezTo>
                      <a:pt x="4830" y="5259"/>
                      <a:pt x="4826" y="5231"/>
                      <a:pt x="4840" y="5228"/>
                    </a:cubicBezTo>
                    <a:cubicBezTo>
                      <a:pt x="4853" y="5225"/>
                      <a:pt x="4876" y="5236"/>
                      <a:pt x="4899" y="5243"/>
                    </a:cubicBezTo>
                    <a:cubicBezTo>
                      <a:pt x="4921" y="5250"/>
                      <a:pt x="4944" y="5262"/>
                      <a:pt x="4972" y="5269"/>
                    </a:cubicBezTo>
                    <a:cubicBezTo>
                      <a:pt x="5001" y="5276"/>
                      <a:pt x="5044" y="5286"/>
                      <a:pt x="5069" y="5284"/>
                    </a:cubicBezTo>
                    <a:cubicBezTo>
                      <a:pt x="5095" y="5282"/>
                      <a:pt x="5110" y="5259"/>
                      <a:pt x="5128" y="5259"/>
                    </a:cubicBezTo>
                    <a:cubicBezTo>
                      <a:pt x="5146" y="5258"/>
                      <a:pt x="5174" y="5282"/>
                      <a:pt x="5177" y="5279"/>
                    </a:cubicBezTo>
                    <a:cubicBezTo>
                      <a:pt x="5179" y="5276"/>
                      <a:pt x="5150" y="5252"/>
                      <a:pt x="5146" y="5238"/>
                    </a:cubicBezTo>
                    <a:cubicBezTo>
                      <a:pt x="5142" y="5225"/>
                      <a:pt x="5130" y="5220"/>
                      <a:pt x="5149" y="5195"/>
                    </a:cubicBezTo>
                    <a:cubicBezTo>
                      <a:pt x="5167" y="5169"/>
                      <a:pt x="5231" y="5113"/>
                      <a:pt x="5258" y="5085"/>
                    </a:cubicBezTo>
                    <a:cubicBezTo>
                      <a:pt x="5285" y="5057"/>
                      <a:pt x="5294" y="5044"/>
                      <a:pt x="5312" y="5024"/>
                    </a:cubicBezTo>
                    <a:cubicBezTo>
                      <a:pt x="5330" y="5003"/>
                      <a:pt x="5345" y="4982"/>
                      <a:pt x="5365" y="4963"/>
                    </a:cubicBezTo>
                    <a:cubicBezTo>
                      <a:pt x="5386" y="4943"/>
                      <a:pt x="5418" y="4927"/>
                      <a:pt x="5437" y="4907"/>
                    </a:cubicBezTo>
                    <a:cubicBezTo>
                      <a:pt x="5455" y="4886"/>
                      <a:pt x="5470" y="4861"/>
                      <a:pt x="5478" y="4843"/>
                    </a:cubicBezTo>
                    <a:cubicBezTo>
                      <a:pt x="5485" y="4824"/>
                      <a:pt x="5483" y="4809"/>
                      <a:pt x="5485" y="4792"/>
                    </a:cubicBezTo>
                    <a:cubicBezTo>
                      <a:pt x="5488" y="4775"/>
                      <a:pt x="5486" y="4750"/>
                      <a:pt x="5493" y="4738"/>
                    </a:cubicBezTo>
                    <a:cubicBezTo>
                      <a:pt x="5500" y="4726"/>
                      <a:pt x="5512" y="4722"/>
                      <a:pt x="5523" y="4723"/>
                    </a:cubicBezTo>
                    <a:cubicBezTo>
                      <a:pt x="5535" y="4724"/>
                      <a:pt x="5553" y="4751"/>
                      <a:pt x="5562" y="4746"/>
                    </a:cubicBezTo>
                    <a:cubicBezTo>
                      <a:pt x="5570" y="4741"/>
                      <a:pt x="5573" y="4708"/>
                      <a:pt x="5575" y="4692"/>
                    </a:cubicBezTo>
                    <a:cubicBezTo>
                      <a:pt x="5576" y="4676"/>
                      <a:pt x="5571" y="4663"/>
                      <a:pt x="5575" y="4646"/>
                    </a:cubicBezTo>
                    <a:cubicBezTo>
                      <a:pt x="5578" y="4629"/>
                      <a:pt x="5593" y="4606"/>
                      <a:pt x="5595" y="4588"/>
                    </a:cubicBezTo>
                    <a:cubicBezTo>
                      <a:pt x="5597" y="4569"/>
                      <a:pt x="5589" y="4551"/>
                      <a:pt x="5585" y="4534"/>
                    </a:cubicBezTo>
                    <a:cubicBezTo>
                      <a:pt x="5580" y="4517"/>
                      <a:pt x="5571" y="4500"/>
                      <a:pt x="5567" y="4483"/>
                    </a:cubicBezTo>
                    <a:cubicBezTo>
                      <a:pt x="5563" y="4466"/>
                      <a:pt x="5557" y="4447"/>
                      <a:pt x="5557" y="4429"/>
                    </a:cubicBezTo>
                    <a:cubicBezTo>
                      <a:pt x="5557" y="4412"/>
                      <a:pt x="5575" y="4384"/>
                      <a:pt x="5567" y="4373"/>
                    </a:cubicBezTo>
                    <a:cubicBezTo>
                      <a:pt x="5558" y="4362"/>
                      <a:pt x="5530" y="4365"/>
                      <a:pt x="5506" y="4363"/>
                    </a:cubicBezTo>
                    <a:cubicBezTo>
                      <a:pt x="5481" y="4361"/>
                      <a:pt x="5445" y="4367"/>
                      <a:pt x="5419" y="4363"/>
                    </a:cubicBezTo>
                    <a:cubicBezTo>
                      <a:pt x="5393" y="4359"/>
                      <a:pt x="5364" y="4348"/>
                      <a:pt x="5347" y="4338"/>
                    </a:cubicBezTo>
                    <a:cubicBezTo>
                      <a:pt x="5330" y="4327"/>
                      <a:pt x="5325" y="4316"/>
                      <a:pt x="5317" y="4299"/>
                    </a:cubicBezTo>
                    <a:cubicBezTo>
                      <a:pt x="5308" y="4283"/>
                      <a:pt x="5297" y="4259"/>
                      <a:pt x="5294" y="4238"/>
                    </a:cubicBezTo>
                    <a:cubicBezTo>
                      <a:pt x="5291" y="4218"/>
                      <a:pt x="5300" y="4196"/>
                      <a:pt x="5296" y="4177"/>
                    </a:cubicBezTo>
                    <a:cubicBezTo>
                      <a:pt x="5293" y="4157"/>
                      <a:pt x="5288" y="4136"/>
                      <a:pt x="5273" y="4121"/>
                    </a:cubicBezTo>
                    <a:cubicBezTo>
                      <a:pt x="5259" y="4105"/>
                      <a:pt x="5222" y="4104"/>
                      <a:pt x="5210" y="4085"/>
                    </a:cubicBezTo>
                    <a:cubicBezTo>
                      <a:pt x="5197" y="4066"/>
                      <a:pt x="5193" y="4024"/>
                      <a:pt x="5194" y="4006"/>
                    </a:cubicBezTo>
                    <a:cubicBezTo>
                      <a:pt x="5196" y="3988"/>
                      <a:pt x="5215" y="3986"/>
                      <a:pt x="5222" y="3978"/>
                    </a:cubicBezTo>
                    <a:cubicBezTo>
                      <a:pt x="5230" y="3969"/>
                      <a:pt x="5247" y="3966"/>
                      <a:pt x="5243" y="3955"/>
                    </a:cubicBezTo>
                    <a:cubicBezTo>
                      <a:pt x="5239" y="3944"/>
                      <a:pt x="5210" y="3922"/>
                      <a:pt x="5194" y="3909"/>
                    </a:cubicBezTo>
                    <a:cubicBezTo>
                      <a:pt x="5179" y="3896"/>
                      <a:pt x="5166" y="3892"/>
                      <a:pt x="5149" y="3878"/>
                    </a:cubicBezTo>
                    <a:cubicBezTo>
                      <a:pt x="5132" y="3865"/>
                      <a:pt x="5101" y="3844"/>
                      <a:pt x="5092" y="3827"/>
                    </a:cubicBezTo>
                    <a:cubicBezTo>
                      <a:pt x="5084" y="3810"/>
                      <a:pt x="5091" y="3789"/>
                      <a:pt x="5097" y="3774"/>
                    </a:cubicBezTo>
                    <a:cubicBezTo>
                      <a:pt x="5104" y="3759"/>
                      <a:pt x="5122" y="3753"/>
                      <a:pt x="5131" y="3738"/>
                    </a:cubicBezTo>
                    <a:cubicBezTo>
                      <a:pt x="5139" y="3724"/>
                      <a:pt x="5134" y="3696"/>
                      <a:pt x="5146" y="3687"/>
                    </a:cubicBezTo>
                    <a:cubicBezTo>
                      <a:pt x="5158" y="3679"/>
                      <a:pt x="5182" y="3687"/>
                      <a:pt x="5202" y="3687"/>
                    </a:cubicBezTo>
                    <a:cubicBezTo>
                      <a:pt x="5222" y="3687"/>
                      <a:pt x="5247" y="3687"/>
                      <a:pt x="5268" y="3685"/>
                    </a:cubicBezTo>
                    <a:cubicBezTo>
                      <a:pt x="5290" y="3682"/>
                      <a:pt x="5311" y="3674"/>
                      <a:pt x="5332" y="3669"/>
                    </a:cubicBezTo>
                    <a:cubicBezTo>
                      <a:pt x="5353" y="3664"/>
                      <a:pt x="5377" y="3661"/>
                      <a:pt x="5398" y="3654"/>
                    </a:cubicBezTo>
                    <a:cubicBezTo>
                      <a:pt x="5420" y="3647"/>
                      <a:pt x="5445" y="3638"/>
                      <a:pt x="5462" y="3628"/>
                    </a:cubicBezTo>
                    <a:cubicBezTo>
                      <a:pt x="5479" y="3619"/>
                      <a:pt x="5493" y="3616"/>
                      <a:pt x="5501" y="3600"/>
                    </a:cubicBezTo>
                    <a:cubicBezTo>
                      <a:pt x="5508" y="3585"/>
                      <a:pt x="5514" y="3551"/>
                      <a:pt x="5511" y="3534"/>
                    </a:cubicBezTo>
                    <a:cubicBezTo>
                      <a:pt x="5507" y="3517"/>
                      <a:pt x="5490" y="3512"/>
                      <a:pt x="5480" y="3498"/>
                    </a:cubicBezTo>
                    <a:cubicBezTo>
                      <a:pt x="5470" y="3485"/>
                      <a:pt x="5460" y="3465"/>
                      <a:pt x="5450" y="3450"/>
                    </a:cubicBezTo>
                    <a:cubicBezTo>
                      <a:pt x="5439" y="3435"/>
                      <a:pt x="5427" y="3423"/>
                      <a:pt x="5419" y="3406"/>
                    </a:cubicBezTo>
                    <a:cubicBezTo>
                      <a:pt x="5411" y="3389"/>
                      <a:pt x="5404" y="3370"/>
                      <a:pt x="5404" y="3350"/>
                    </a:cubicBezTo>
                    <a:cubicBezTo>
                      <a:pt x="5403" y="3331"/>
                      <a:pt x="5405" y="3310"/>
                      <a:pt x="5411" y="3289"/>
                    </a:cubicBezTo>
                    <a:cubicBezTo>
                      <a:pt x="5417" y="3269"/>
                      <a:pt x="5431" y="3247"/>
                      <a:pt x="5442" y="3228"/>
                    </a:cubicBezTo>
                    <a:cubicBezTo>
                      <a:pt x="5453" y="3209"/>
                      <a:pt x="5468" y="3195"/>
                      <a:pt x="5478" y="3177"/>
                    </a:cubicBezTo>
                    <a:cubicBezTo>
                      <a:pt x="5487" y="3159"/>
                      <a:pt x="5496" y="3136"/>
                      <a:pt x="5495" y="3121"/>
                    </a:cubicBezTo>
                    <a:cubicBezTo>
                      <a:pt x="5495" y="3105"/>
                      <a:pt x="5473" y="3099"/>
                      <a:pt x="5475" y="3085"/>
                    </a:cubicBezTo>
                    <a:cubicBezTo>
                      <a:pt x="5477" y="3071"/>
                      <a:pt x="5513" y="3056"/>
                      <a:pt x="5506" y="3039"/>
                    </a:cubicBezTo>
                    <a:cubicBezTo>
                      <a:pt x="5498" y="3022"/>
                      <a:pt x="5437" y="3002"/>
                      <a:pt x="5429" y="2983"/>
                    </a:cubicBezTo>
                    <a:cubicBezTo>
                      <a:pt x="5421" y="2964"/>
                      <a:pt x="5449" y="2939"/>
                      <a:pt x="5460" y="2927"/>
                    </a:cubicBezTo>
                    <a:cubicBezTo>
                      <a:pt x="5471" y="2915"/>
                      <a:pt x="5490" y="2921"/>
                      <a:pt x="5495" y="2912"/>
                    </a:cubicBezTo>
                    <a:cubicBezTo>
                      <a:pt x="5501" y="2902"/>
                      <a:pt x="5491" y="2884"/>
                      <a:pt x="5493" y="2868"/>
                    </a:cubicBezTo>
                    <a:cubicBezTo>
                      <a:pt x="5495" y="2852"/>
                      <a:pt x="5498" y="2830"/>
                      <a:pt x="5508" y="2815"/>
                    </a:cubicBezTo>
                    <a:cubicBezTo>
                      <a:pt x="5518" y="2799"/>
                      <a:pt x="5540" y="2786"/>
                      <a:pt x="5554" y="2774"/>
                    </a:cubicBezTo>
                    <a:cubicBezTo>
                      <a:pt x="5568" y="2762"/>
                      <a:pt x="5588" y="2762"/>
                      <a:pt x="5590" y="2741"/>
                    </a:cubicBezTo>
                    <a:cubicBezTo>
                      <a:pt x="5592" y="2719"/>
                      <a:pt x="5569" y="2676"/>
                      <a:pt x="5564" y="2644"/>
                    </a:cubicBezTo>
                    <a:cubicBezTo>
                      <a:pt x="5560" y="2611"/>
                      <a:pt x="5555" y="2569"/>
                      <a:pt x="5564" y="2547"/>
                    </a:cubicBezTo>
                    <a:cubicBezTo>
                      <a:pt x="5574" y="2525"/>
                      <a:pt x="5607" y="2524"/>
                      <a:pt x="5620" y="2508"/>
                    </a:cubicBezTo>
                    <a:cubicBezTo>
                      <a:pt x="5634" y="2493"/>
                      <a:pt x="5636" y="2479"/>
                      <a:pt x="5648" y="2457"/>
                    </a:cubicBezTo>
                    <a:cubicBezTo>
                      <a:pt x="5661" y="2436"/>
                      <a:pt x="5688" y="2381"/>
                      <a:pt x="5697" y="2381"/>
                    </a:cubicBezTo>
                    <a:cubicBezTo>
                      <a:pt x="5706" y="2381"/>
                      <a:pt x="5701" y="2433"/>
                      <a:pt x="5707" y="2455"/>
                    </a:cubicBezTo>
                    <a:cubicBezTo>
                      <a:pt x="5713" y="2477"/>
                      <a:pt x="5722" y="2508"/>
                      <a:pt x="5733" y="2516"/>
                    </a:cubicBezTo>
                    <a:cubicBezTo>
                      <a:pt x="5744" y="2525"/>
                      <a:pt x="5763" y="2518"/>
                      <a:pt x="5773" y="2506"/>
                    </a:cubicBezTo>
                    <a:cubicBezTo>
                      <a:pt x="5784" y="2494"/>
                      <a:pt x="5792" y="2475"/>
                      <a:pt x="5794" y="2445"/>
                    </a:cubicBezTo>
                    <a:cubicBezTo>
                      <a:pt x="5796" y="2414"/>
                      <a:pt x="5774" y="2346"/>
                      <a:pt x="5781" y="2322"/>
                    </a:cubicBezTo>
                    <a:cubicBezTo>
                      <a:pt x="5788" y="2298"/>
                      <a:pt x="5814" y="2305"/>
                      <a:pt x="5837" y="2302"/>
                    </a:cubicBezTo>
                    <a:cubicBezTo>
                      <a:pt x="5860" y="2298"/>
                      <a:pt x="5899" y="2309"/>
                      <a:pt x="5919" y="2302"/>
                    </a:cubicBezTo>
                    <a:cubicBezTo>
                      <a:pt x="5938" y="2294"/>
                      <a:pt x="5940" y="2264"/>
                      <a:pt x="5955" y="2256"/>
                    </a:cubicBezTo>
                    <a:cubicBezTo>
                      <a:pt x="5969" y="2248"/>
                      <a:pt x="5978" y="2273"/>
                      <a:pt x="6006" y="2256"/>
                    </a:cubicBezTo>
                    <a:cubicBezTo>
                      <a:pt x="6033" y="2239"/>
                      <a:pt x="6086" y="2184"/>
                      <a:pt x="6118" y="2151"/>
                    </a:cubicBezTo>
                    <a:cubicBezTo>
                      <a:pt x="6149" y="2119"/>
                      <a:pt x="6175" y="2092"/>
                      <a:pt x="6194" y="2065"/>
                    </a:cubicBezTo>
                    <a:cubicBezTo>
                      <a:pt x="6214" y="2037"/>
                      <a:pt x="6228" y="2011"/>
                      <a:pt x="6235" y="1988"/>
                    </a:cubicBezTo>
                    <a:cubicBezTo>
                      <a:pt x="6242" y="1965"/>
                      <a:pt x="6221" y="1945"/>
                      <a:pt x="6235" y="1924"/>
                    </a:cubicBezTo>
                    <a:cubicBezTo>
                      <a:pt x="6250" y="1904"/>
                      <a:pt x="6322" y="1883"/>
                      <a:pt x="6324" y="1863"/>
                    </a:cubicBezTo>
                    <a:cubicBezTo>
                      <a:pt x="6327" y="1843"/>
                      <a:pt x="6262" y="1823"/>
                      <a:pt x="6253" y="1802"/>
                    </a:cubicBezTo>
                    <a:cubicBezTo>
                      <a:pt x="6244" y="1781"/>
                      <a:pt x="6257" y="1758"/>
                      <a:pt x="6268" y="1733"/>
                    </a:cubicBezTo>
                    <a:cubicBezTo>
                      <a:pt x="6279" y="1707"/>
                      <a:pt x="6302" y="1673"/>
                      <a:pt x="6322" y="1646"/>
                    </a:cubicBezTo>
                    <a:cubicBezTo>
                      <a:pt x="6341" y="1619"/>
                      <a:pt x="6370" y="1597"/>
                      <a:pt x="6388" y="1567"/>
                    </a:cubicBezTo>
                    <a:cubicBezTo>
                      <a:pt x="6406" y="1537"/>
                      <a:pt x="6415" y="1496"/>
                      <a:pt x="6429" y="1468"/>
                    </a:cubicBezTo>
                    <a:cubicBezTo>
                      <a:pt x="6443" y="1439"/>
                      <a:pt x="6455" y="1412"/>
                      <a:pt x="6470" y="1394"/>
                    </a:cubicBezTo>
                    <a:cubicBezTo>
                      <a:pt x="6485" y="1375"/>
                      <a:pt x="6501" y="1366"/>
                      <a:pt x="6521" y="1355"/>
                    </a:cubicBezTo>
                    <a:cubicBezTo>
                      <a:pt x="6540" y="1344"/>
                      <a:pt x="6580" y="1352"/>
                      <a:pt x="6587" y="1330"/>
                    </a:cubicBezTo>
                    <a:cubicBezTo>
                      <a:pt x="6594" y="1308"/>
                      <a:pt x="6564" y="1246"/>
                      <a:pt x="6564" y="1220"/>
                    </a:cubicBezTo>
                    <a:cubicBezTo>
                      <a:pt x="6564" y="1195"/>
                      <a:pt x="6594" y="1207"/>
                      <a:pt x="6590" y="1177"/>
                    </a:cubicBezTo>
                    <a:cubicBezTo>
                      <a:pt x="6585" y="1146"/>
                      <a:pt x="6552" y="1075"/>
                      <a:pt x="6536" y="1034"/>
                    </a:cubicBezTo>
                    <a:cubicBezTo>
                      <a:pt x="6520" y="993"/>
                      <a:pt x="6503" y="959"/>
                      <a:pt x="6493" y="929"/>
                    </a:cubicBezTo>
                    <a:cubicBezTo>
                      <a:pt x="6483" y="900"/>
                      <a:pt x="6501" y="865"/>
                      <a:pt x="6478" y="855"/>
                    </a:cubicBezTo>
                    <a:cubicBezTo>
                      <a:pt x="6454" y="845"/>
                      <a:pt x="6403" y="863"/>
                      <a:pt x="6353" y="871"/>
                    </a:cubicBezTo>
                    <a:cubicBezTo>
                      <a:pt x="6302" y="878"/>
                      <a:pt x="6211" y="915"/>
                      <a:pt x="6174" y="901"/>
                    </a:cubicBezTo>
                    <a:cubicBezTo>
                      <a:pt x="6137" y="887"/>
                      <a:pt x="6114" y="810"/>
                      <a:pt x="6128" y="789"/>
                    </a:cubicBezTo>
                    <a:cubicBezTo>
                      <a:pt x="6142" y="768"/>
                      <a:pt x="6236" y="784"/>
                      <a:pt x="6261" y="774"/>
                    </a:cubicBezTo>
                    <a:cubicBezTo>
                      <a:pt x="6286" y="764"/>
                      <a:pt x="6269" y="740"/>
                      <a:pt x="6281" y="729"/>
                    </a:cubicBezTo>
                    <a:cubicBezTo>
                      <a:pt x="6293" y="718"/>
                      <a:pt x="6323" y="724"/>
                      <a:pt x="6332" y="708"/>
                    </a:cubicBezTo>
                    <a:cubicBezTo>
                      <a:pt x="6341" y="692"/>
                      <a:pt x="6351" y="656"/>
                      <a:pt x="6335" y="633"/>
                    </a:cubicBezTo>
                    <a:cubicBezTo>
                      <a:pt x="6319" y="610"/>
                      <a:pt x="6267" y="591"/>
                      <a:pt x="6238" y="572"/>
                    </a:cubicBezTo>
                    <a:cubicBezTo>
                      <a:pt x="6208" y="553"/>
                      <a:pt x="6185" y="532"/>
                      <a:pt x="6156" y="519"/>
                    </a:cubicBezTo>
                    <a:cubicBezTo>
                      <a:pt x="6127" y="506"/>
                      <a:pt x="6095" y="537"/>
                      <a:pt x="6065" y="495"/>
                    </a:cubicBezTo>
                    <a:cubicBezTo>
                      <a:pt x="6035" y="453"/>
                      <a:pt x="6009" y="315"/>
                      <a:pt x="5975" y="266"/>
                    </a:cubicBezTo>
                    <a:cubicBezTo>
                      <a:pt x="5941" y="217"/>
                      <a:pt x="5903" y="210"/>
                      <a:pt x="5859" y="198"/>
                    </a:cubicBezTo>
                    <a:cubicBezTo>
                      <a:pt x="5816" y="186"/>
                      <a:pt x="5750" y="212"/>
                      <a:pt x="5712" y="195"/>
                    </a:cubicBezTo>
                    <a:cubicBezTo>
                      <a:pt x="5675" y="177"/>
                      <a:pt x="5664" y="114"/>
                      <a:pt x="5636" y="92"/>
                    </a:cubicBezTo>
                    <a:cubicBezTo>
                      <a:pt x="5608" y="70"/>
                      <a:pt x="5570" y="75"/>
                      <a:pt x="5546" y="60"/>
                    </a:cubicBezTo>
                    <a:cubicBezTo>
                      <a:pt x="5522" y="45"/>
                      <a:pt x="5507" y="0"/>
                      <a:pt x="5489" y="0"/>
                    </a:cubicBezTo>
                    <a:cubicBezTo>
                      <a:pt x="5471" y="0"/>
                      <a:pt x="5435" y="25"/>
                      <a:pt x="5439" y="59"/>
                    </a:cubicBezTo>
                    <a:cubicBezTo>
                      <a:pt x="5443" y="93"/>
                      <a:pt x="5489" y="155"/>
                      <a:pt x="5513" y="206"/>
                    </a:cubicBezTo>
                    <a:cubicBezTo>
                      <a:pt x="5537" y="256"/>
                      <a:pt x="5566" y="339"/>
                      <a:pt x="5585" y="360"/>
                    </a:cubicBezTo>
                    <a:cubicBezTo>
                      <a:pt x="5603" y="382"/>
                      <a:pt x="5612" y="326"/>
                      <a:pt x="5628" y="335"/>
                    </a:cubicBezTo>
                    <a:cubicBezTo>
                      <a:pt x="5644" y="343"/>
                      <a:pt x="5669" y="389"/>
                      <a:pt x="5682" y="411"/>
                    </a:cubicBezTo>
                    <a:cubicBezTo>
                      <a:pt x="5694" y="434"/>
                      <a:pt x="5702" y="447"/>
                      <a:pt x="5707" y="470"/>
                    </a:cubicBezTo>
                    <a:cubicBezTo>
                      <a:pt x="5712" y="493"/>
                      <a:pt x="5714" y="523"/>
                      <a:pt x="5715" y="552"/>
                    </a:cubicBezTo>
                    <a:cubicBezTo>
                      <a:pt x="5716" y="581"/>
                      <a:pt x="5709" y="621"/>
                      <a:pt x="5710" y="644"/>
                    </a:cubicBezTo>
                    <a:cubicBezTo>
                      <a:pt x="5711" y="666"/>
                      <a:pt x="5715" y="664"/>
                      <a:pt x="5720" y="684"/>
                    </a:cubicBezTo>
                    <a:cubicBezTo>
                      <a:pt x="5725" y="705"/>
                      <a:pt x="5745" y="745"/>
                      <a:pt x="5740" y="766"/>
                    </a:cubicBezTo>
                    <a:cubicBezTo>
                      <a:pt x="5736" y="787"/>
                      <a:pt x="5702" y="781"/>
                      <a:pt x="5694" y="812"/>
                    </a:cubicBezTo>
                    <a:cubicBezTo>
                      <a:pt x="5687" y="843"/>
                      <a:pt x="5712" y="912"/>
                      <a:pt x="5692" y="950"/>
                    </a:cubicBezTo>
                    <a:cubicBezTo>
                      <a:pt x="5671" y="987"/>
                      <a:pt x="5626" y="1013"/>
                      <a:pt x="5575" y="1036"/>
                    </a:cubicBezTo>
                    <a:cubicBezTo>
                      <a:pt x="5523" y="1059"/>
                      <a:pt x="5429" y="1071"/>
                      <a:pt x="5378" y="1087"/>
                    </a:cubicBezTo>
                    <a:cubicBezTo>
                      <a:pt x="5327" y="1104"/>
                      <a:pt x="5286" y="1116"/>
                      <a:pt x="5268" y="1136"/>
                    </a:cubicBezTo>
                    <a:cubicBezTo>
                      <a:pt x="5251" y="1156"/>
                      <a:pt x="5260" y="1185"/>
                      <a:pt x="5271" y="1212"/>
                    </a:cubicBezTo>
                    <a:cubicBezTo>
                      <a:pt x="5282" y="1240"/>
                      <a:pt x="5316" y="1271"/>
                      <a:pt x="5332" y="1297"/>
                    </a:cubicBezTo>
                    <a:cubicBezTo>
                      <a:pt x="5348" y="1322"/>
                      <a:pt x="5357" y="1343"/>
                      <a:pt x="5370" y="1368"/>
                    </a:cubicBezTo>
                    <a:cubicBezTo>
                      <a:pt x="5384" y="1393"/>
                      <a:pt x="5399" y="1420"/>
                      <a:pt x="5416" y="1445"/>
                    </a:cubicBezTo>
                    <a:cubicBezTo>
                      <a:pt x="5433" y="1469"/>
                      <a:pt x="5478" y="1491"/>
                      <a:pt x="5472" y="1519"/>
                    </a:cubicBezTo>
                    <a:cubicBezTo>
                      <a:pt x="5467" y="1546"/>
                      <a:pt x="5411" y="1584"/>
                      <a:pt x="5381" y="1608"/>
                    </a:cubicBezTo>
                    <a:cubicBezTo>
                      <a:pt x="5350" y="1632"/>
                      <a:pt x="5313" y="1644"/>
                      <a:pt x="5286" y="1664"/>
                    </a:cubicBezTo>
                    <a:cubicBezTo>
                      <a:pt x="5260" y="1684"/>
                      <a:pt x="5228" y="1692"/>
                      <a:pt x="5225" y="1724"/>
                    </a:cubicBezTo>
                    <a:cubicBezTo>
                      <a:pt x="5222" y="1755"/>
                      <a:pt x="5255" y="1820"/>
                      <a:pt x="5266" y="1855"/>
                    </a:cubicBezTo>
                    <a:cubicBezTo>
                      <a:pt x="5277" y="1891"/>
                      <a:pt x="5292" y="1915"/>
                      <a:pt x="5294" y="1940"/>
                    </a:cubicBezTo>
                    <a:cubicBezTo>
                      <a:pt x="5296" y="1964"/>
                      <a:pt x="5292" y="1993"/>
                      <a:pt x="5279" y="2003"/>
                    </a:cubicBezTo>
                    <a:cubicBezTo>
                      <a:pt x="5265" y="2014"/>
                      <a:pt x="5233" y="2001"/>
                      <a:pt x="5210" y="1998"/>
                    </a:cubicBezTo>
                    <a:cubicBezTo>
                      <a:pt x="5187" y="1996"/>
                      <a:pt x="5174" y="1997"/>
                      <a:pt x="5141" y="1988"/>
                    </a:cubicBezTo>
                    <a:cubicBezTo>
                      <a:pt x="5108" y="1979"/>
                      <a:pt x="5034" y="1957"/>
                      <a:pt x="5008" y="1940"/>
                    </a:cubicBezTo>
                    <a:cubicBezTo>
                      <a:pt x="4983" y="1922"/>
                      <a:pt x="4995" y="1897"/>
                      <a:pt x="4988" y="1878"/>
                    </a:cubicBezTo>
                    <a:cubicBezTo>
                      <a:pt x="4980" y="1860"/>
                      <a:pt x="4976" y="1831"/>
                      <a:pt x="4962" y="1827"/>
                    </a:cubicBezTo>
                    <a:cubicBezTo>
                      <a:pt x="4949" y="1824"/>
                      <a:pt x="4916" y="1843"/>
                      <a:pt x="4904" y="1855"/>
                    </a:cubicBezTo>
                    <a:cubicBezTo>
                      <a:pt x="4892" y="1868"/>
                      <a:pt x="4903" y="1891"/>
                      <a:pt x="4888" y="1904"/>
                    </a:cubicBezTo>
                    <a:cubicBezTo>
                      <a:pt x="4874" y="1917"/>
                      <a:pt x="4836" y="1913"/>
                      <a:pt x="4814" y="1929"/>
                    </a:cubicBezTo>
                    <a:cubicBezTo>
                      <a:pt x="4792" y="1945"/>
                      <a:pt x="4770" y="1981"/>
                      <a:pt x="4756" y="2001"/>
                    </a:cubicBezTo>
                    <a:cubicBezTo>
                      <a:pt x="4741" y="2020"/>
                      <a:pt x="4725" y="2030"/>
                      <a:pt x="4725" y="2049"/>
                    </a:cubicBezTo>
                    <a:cubicBezTo>
                      <a:pt x="4725" y="2069"/>
                      <a:pt x="4746" y="2093"/>
                      <a:pt x="4756" y="2118"/>
                    </a:cubicBezTo>
                    <a:cubicBezTo>
                      <a:pt x="4765" y="2144"/>
                      <a:pt x="4774" y="2178"/>
                      <a:pt x="4784" y="2202"/>
                    </a:cubicBezTo>
                    <a:cubicBezTo>
                      <a:pt x="4794" y="2227"/>
                      <a:pt x="4808" y="2245"/>
                      <a:pt x="4817" y="2269"/>
                    </a:cubicBezTo>
                    <a:cubicBezTo>
                      <a:pt x="4826" y="2292"/>
                      <a:pt x="4833" y="2316"/>
                      <a:pt x="4840" y="2345"/>
                    </a:cubicBezTo>
                    <a:cubicBezTo>
                      <a:pt x="4847" y="2374"/>
                      <a:pt x="4852" y="2417"/>
                      <a:pt x="4858" y="2445"/>
                    </a:cubicBezTo>
                    <a:cubicBezTo>
                      <a:pt x="4864" y="2472"/>
                      <a:pt x="4870" y="2493"/>
                      <a:pt x="4876" y="2511"/>
                    </a:cubicBezTo>
                    <a:cubicBezTo>
                      <a:pt x="4881" y="2529"/>
                      <a:pt x="4899" y="2542"/>
                      <a:pt x="4888" y="2552"/>
                    </a:cubicBezTo>
                    <a:cubicBezTo>
                      <a:pt x="4878" y="2562"/>
                      <a:pt x="4838" y="2565"/>
                      <a:pt x="4814" y="2572"/>
                    </a:cubicBezTo>
                    <a:cubicBezTo>
                      <a:pt x="4791" y="2580"/>
                      <a:pt x="4763" y="2594"/>
                      <a:pt x="4743" y="2600"/>
                    </a:cubicBezTo>
                    <a:cubicBezTo>
                      <a:pt x="4723" y="2606"/>
                      <a:pt x="4708" y="2605"/>
                      <a:pt x="4692" y="2610"/>
                    </a:cubicBezTo>
                    <a:cubicBezTo>
                      <a:pt x="4676" y="2616"/>
                      <a:pt x="4654" y="2616"/>
                      <a:pt x="4646" y="2631"/>
                    </a:cubicBezTo>
                    <a:cubicBezTo>
                      <a:pt x="4637" y="2645"/>
                      <a:pt x="4653" y="2680"/>
                      <a:pt x="4643" y="2697"/>
                    </a:cubicBezTo>
                    <a:cubicBezTo>
                      <a:pt x="4634" y="2714"/>
                      <a:pt x="4596" y="2717"/>
                      <a:pt x="4587" y="2735"/>
                    </a:cubicBezTo>
                    <a:cubicBezTo>
                      <a:pt x="4579" y="2754"/>
                      <a:pt x="4586" y="2785"/>
                      <a:pt x="4590" y="2809"/>
                    </a:cubicBezTo>
                    <a:cubicBezTo>
                      <a:pt x="4593" y="2834"/>
                      <a:pt x="4604" y="2859"/>
                      <a:pt x="4610" y="2886"/>
                    </a:cubicBezTo>
                    <a:cubicBezTo>
                      <a:pt x="4616" y="2913"/>
                      <a:pt x="4635" y="2947"/>
                      <a:pt x="4628" y="2973"/>
                    </a:cubicBezTo>
                    <a:cubicBezTo>
                      <a:pt x="4621" y="2998"/>
                      <a:pt x="4585" y="3012"/>
                      <a:pt x="4569" y="3039"/>
                    </a:cubicBezTo>
                    <a:cubicBezTo>
                      <a:pt x="4553" y="3066"/>
                      <a:pt x="4561" y="3132"/>
                      <a:pt x="4535" y="3135"/>
                    </a:cubicBezTo>
                    <a:cubicBezTo>
                      <a:pt x="4509" y="3138"/>
                      <a:pt x="4450" y="3078"/>
                      <a:pt x="4412" y="3057"/>
                    </a:cubicBezTo>
                    <a:cubicBezTo>
                      <a:pt x="4374" y="3036"/>
                      <a:pt x="4344" y="3022"/>
                      <a:pt x="4309" y="3006"/>
                    </a:cubicBezTo>
                    <a:cubicBezTo>
                      <a:pt x="4274" y="2990"/>
                      <a:pt x="4235" y="2979"/>
                      <a:pt x="4200" y="2963"/>
                    </a:cubicBezTo>
                    <a:cubicBezTo>
                      <a:pt x="4164" y="2946"/>
                      <a:pt x="4132" y="2925"/>
                      <a:pt x="4095" y="2909"/>
                    </a:cubicBezTo>
                    <a:cubicBezTo>
                      <a:pt x="4058" y="2893"/>
                      <a:pt x="4016" y="2879"/>
                      <a:pt x="3980" y="2863"/>
                    </a:cubicBezTo>
                    <a:cubicBezTo>
                      <a:pt x="3944" y="2847"/>
                      <a:pt x="3913" y="2829"/>
                      <a:pt x="3881" y="2809"/>
                    </a:cubicBezTo>
                    <a:cubicBezTo>
                      <a:pt x="3848" y="2790"/>
                      <a:pt x="3808" y="2762"/>
                      <a:pt x="3784" y="2746"/>
                    </a:cubicBezTo>
                    <a:cubicBezTo>
                      <a:pt x="3760" y="2730"/>
                      <a:pt x="3756" y="2724"/>
                      <a:pt x="3738" y="2713"/>
                    </a:cubicBezTo>
                    <a:cubicBezTo>
                      <a:pt x="3720" y="2701"/>
                      <a:pt x="3687" y="2691"/>
                      <a:pt x="3679" y="2679"/>
                    </a:cubicBezTo>
                    <a:cubicBezTo>
                      <a:pt x="3672" y="2667"/>
                      <a:pt x="3692" y="2650"/>
                      <a:pt x="3689" y="2641"/>
                    </a:cubicBezTo>
                    <a:cubicBezTo>
                      <a:pt x="3687" y="2632"/>
                      <a:pt x="3672" y="2622"/>
                      <a:pt x="3664" y="2623"/>
                    </a:cubicBezTo>
                    <a:cubicBezTo>
                      <a:pt x="3655" y="2625"/>
                      <a:pt x="3643" y="2651"/>
                      <a:pt x="3636" y="2651"/>
                    </a:cubicBezTo>
                    <a:cubicBezTo>
                      <a:pt x="3628" y="2651"/>
                      <a:pt x="3612" y="2642"/>
                      <a:pt x="3618" y="2626"/>
                    </a:cubicBezTo>
                    <a:cubicBezTo>
                      <a:pt x="3624" y="2610"/>
                      <a:pt x="3655" y="2575"/>
                      <a:pt x="3669" y="2554"/>
                    </a:cubicBezTo>
                    <a:cubicBezTo>
                      <a:pt x="3683" y="2534"/>
                      <a:pt x="3695" y="2520"/>
                      <a:pt x="3707" y="2501"/>
                    </a:cubicBezTo>
                    <a:cubicBezTo>
                      <a:pt x="3719" y="2481"/>
                      <a:pt x="3729" y="2457"/>
                      <a:pt x="3743" y="2437"/>
                    </a:cubicBezTo>
                    <a:cubicBezTo>
                      <a:pt x="3757" y="2417"/>
                      <a:pt x="3777" y="2400"/>
                      <a:pt x="3789" y="2383"/>
                    </a:cubicBezTo>
                    <a:cubicBezTo>
                      <a:pt x="3801" y="2367"/>
                      <a:pt x="3802" y="2355"/>
                      <a:pt x="3812" y="2338"/>
                    </a:cubicBezTo>
                    <a:cubicBezTo>
                      <a:pt x="3821" y="2321"/>
                      <a:pt x="3835" y="2297"/>
                      <a:pt x="3848" y="2279"/>
                    </a:cubicBezTo>
                    <a:cubicBezTo>
                      <a:pt x="3860" y="2261"/>
                      <a:pt x="3888" y="2244"/>
                      <a:pt x="3888" y="2230"/>
                    </a:cubicBezTo>
                    <a:cubicBezTo>
                      <a:pt x="3888" y="2217"/>
                      <a:pt x="3862" y="2204"/>
                      <a:pt x="3848" y="2195"/>
                    </a:cubicBezTo>
                    <a:cubicBezTo>
                      <a:pt x="3833" y="2185"/>
                      <a:pt x="3815" y="2184"/>
                      <a:pt x="3799" y="2174"/>
                    </a:cubicBezTo>
                    <a:cubicBezTo>
                      <a:pt x="3783" y="2165"/>
                      <a:pt x="3766" y="2149"/>
                      <a:pt x="3751" y="2136"/>
                    </a:cubicBezTo>
                    <a:cubicBezTo>
                      <a:pt x="3735" y="2123"/>
                      <a:pt x="3714" y="2110"/>
                      <a:pt x="3707" y="2098"/>
                    </a:cubicBezTo>
                    <a:cubicBezTo>
                      <a:pt x="3700" y="2085"/>
                      <a:pt x="3697" y="2076"/>
                      <a:pt x="3707" y="2059"/>
                    </a:cubicBezTo>
                    <a:cubicBezTo>
                      <a:pt x="3717" y="2042"/>
                      <a:pt x="3766" y="2008"/>
                      <a:pt x="3771" y="1993"/>
                    </a:cubicBezTo>
                    <a:cubicBezTo>
                      <a:pt x="3776" y="1979"/>
                      <a:pt x="3750" y="1974"/>
                      <a:pt x="3738" y="1973"/>
                    </a:cubicBezTo>
                    <a:cubicBezTo>
                      <a:pt x="3726" y="1971"/>
                      <a:pt x="3707" y="1976"/>
                      <a:pt x="3697" y="1983"/>
                    </a:cubicBezTo>
                    <a:cubicBezTo>
                      <a:pt x="3687" y="1990"/>
                      <a:pt x="3687" y="2010"/>
                      <a:pt x="3677" y="2016"/>
                    </a:cubicBezTo>
                    <a:cubicBezTo>
                      <a:pt x="3666" y="2022"/>
                      <a:pt x="3643" y="2008"/>
                      <a:pt x="3636" y="2019"/>
                    </a:cubicBezTo>
                    <a:cubicBezTo>
                      <a:pt x="3629" y="2030"/>
                      <a:pt x="3644" y="2061"/>
                      <a:pt x="3636" y="2082"/>
                    </a:cubicBezTo>
                    <a:cubicBezTo>
                      <a:pt x="3627" y="2104"/>
                      <a:pt x="3598" y="2132"/>
                      <a:pt x="3585" y="2149"/>
                    </a:cubicBezTo>
                    <a:cubicBezTo>
                      <a:pt x="3572" y="2166"/>
                      <a:pt x="3568" y="2174"/>
                      <a:pt x="3559" y="2184"/>
                    </a:cubicBezTo>
                    <a:cubicBezTo>
                      <a:pt x="3551" y="2195"/>
                      <a:pt x="3541" y="2202"/>
                      <a:pt x="3531" y="2210"/>
                    </a:cubicBezTo>
                    <a:cubicBezTo>
                      <a:pt x="3521" y="2218"/>
                      <a:pt x="3503" y="2219"/>
                      <a:pt x="3498" y="2230"/>
                    </a:cubicBezTo>
                    <a:cubicBezTo>
                      <a:pt x="3493" y="2241"/>
                      <a:pt x="3505" y="2262"/>
                      <a:pt x="3501" y="2276"/>
                    </a:cubicBezTo>
                    <a:cubicBezTo>
                      <a:pt x="3496" y="2291"/>
                      <a:pt x="3484" y="2306"/>
                      <a:pt x="3473" y="2320"/>
                    </a:cubicBezTo>
                    <a:cubicBezTo>
                      <a:pt x="3462" y="2333"/>
                      <a:pt x="3445" y="2346"/>
                      <a:pt x="3432" y="2360"/>
                    </a:cubicBezTo>
                    <a:cubicBezTo>
                      <a:pt x="3418" y="2375"/>
                      <a:pt x="3399" y="2389"/>
                      <a:pt x="3391" y="2404"/>
                    </a:cubicBezTo>
                    <a:cubicBezTo>
                      <a:pt x="3382" y="2418"/>
                      <a:pt x="3388" y="2427"/>
                      <a:pt x="3378" y="2445"/>
                    </a:cubicBezTo>
                    <a:cubicBezTo>
                      <a:pt x="3368" y="2463"/>
                      <a:pt x="3342" y="2488"/>
                      <a:pt x="3327" y="2511"/>
                    </a:cubicBezTo>
                    <a:cubicBezTo>
                      <a:pt x="3312" y="2534"/>
                      <a:pt x="3297" y="2559"/>
                      <a:pt x="3286" y="2580"/>
                    </a:cubicBezTo>
                    <a:cubicBezTo>
                      <a:pt x="3275" y="2600"/>
                      <a:pt x="3264" y="2617"/>
                      <a:pt x="3261" y="2633"/>
                    </a:cubicBezTo>
                    <a:cubicBezTo>
                      <a:pt x="3257" y="2650"/>
                      <a:pt x="3253" y="2663"/>
                      <a:pt x="3263" y="2679"/>
                    </a:cubicBezTo>
                    <a:cubicBezTo>
                      <a:pt x="3274" y="2696"/>
                      <a:pt x="3304" y="2716"/>
                      <a:pt x="3322" y="2733"/>
                    </a:cubicBezTo>
                    <a:cubicBezTo>
                      <a:pt x="3340" y="2750"/>
                      <a:pt x="3357" y="2769"/>
                      <a:pt x="3373" y="2784"/>
                    </a:cubicBezTo>
                    <a:cubicBezTo>
                      <a:pt x="3389" y="2799"/>
                      <a:pt x="3405" y="2810"/>
                      <a:pt x="3422" y="2822"/>
                    </a:cubicBezTo>
                    <a:cubicBezTo>
                      <a:pt x="3439" y="2834"/>
                      <a:pt x="3459" y="2843"/>
                      <a:pt x="3478" y="2858"/>
                    </a:cubicBezTo>
                    <a:cubicBezTo>
                      <a:pt x="3496" y="2872"/>
                      <a:pt x="3512" y="2893"/>
                      <a:pt x="3531" y="2906"/>
                    </a:cubicBezTo>
                    <a:cubicBezTo>
                      <a:pt x="3551" y="2920"/>
                      <a:pt x="3575" y="2937"/>
                      <a:pt x="3592" y="2937"/>
                    </a:cubicBezTo>
                    <a:cubicBezTo>
                      <a:pt x="3610" y="2937"/>
                      <a:pt x="3623" y="2911"/>
                      <a:pt x="3638" y="2904"/>
                    </a:cubicBezTo>
                    <a:cubicBezTo>
                      <a:pt x="3654" y="2897"/>
                      <a:pt x="3673" y="2903"/>
                      <a:pt x="3687" y="2896"/>
                    </a:cubicBezTo>
                    <a:cubicBezTo>
                      <a:pt x="3700" y="2889"/>
                      <a:pt x="3712" y="2879"/>
                      <a:pt x="3717" y="2866"/>
                    </a:cubicBezTo>
                    <a:cubicBezTo>
                      <a:pt x="3723" y="2852"/>
                      <a:pt x="3710" y="2830"/>
                      <a:pt x="3717" y="2815"/>
                    </a:cubicBezTo>
                    <a:cubicBezTo>
                      <a:pt x="3725" y="2799"/>
                      <a:pt x="3744" y="2772"/>
                      <a:pt x="3766" y="2774"/>
                    </a:cubicBezTo>
                    <a:cubicBezTo>
                      <a:pt x="3788" y="2775"/>
                      <a:pt x="3831" y="2809"/>
                      <a:pt x="3850" y="2825"/>
                    </a:cubicBezTo>
                    <a:cubicBezTo>
                      <a:pt x="3869" y="2841"/>
                      <a:pt x="3867" y="2862"/>
                      <a:pt x="3881" y="2871"/>
                    </a:cubicBezTo>
                    <a:cubicBezTo>
                      <a:pt x="3894" y="2879"/>
                      <a:pt x="3910" y="2870"/>
                      <a:pt x="3934" y="2876"/>
                    </a:cubicBezTo>
                    <a:cubicBezTo>
                      <a:pt x="3958" y="2882"/>
                      <a:pt x="3996" y="2896"/>
                      <a:pt x="4024" y="2906"/>
                    </a:cubicBezTo>
                    <a:cubicBezTo>
                      <a:pt x="4051" y="2917"/>
                      <a:pt x="4076" y="2929"/>
                      <a:pt x="4098" y="2937"/>
                    </a:cubicBezTo>
                    <a:cubicBezTo>
                      <a:pt x="4119" y="2946"/>
                      <a:pt x="4126" y="2948"/>
                      <a:pt x="4154" y="2960"/>
                    </a:cubicBezTo>
                    <a:cubicBezTo>
                      <a:pt x="4181" y="2972"/>
                      <a:pt x="4223" y="2991"/>
                      <a:pt x="4261" y="3008"/>
                    </a:cubicBezTo>
                    <a:cubicBezTo>
                      <a:pt x="4299" y="3025"/>
                      <a:pt x="4337" y="3032"/>
                      <a:pt x="4383" y="3062"/>
                    </a:cubicBezTo>
                    <a:cubicBezTo>
                      <a:pt x="4429" y="3092"/>
                      <a:pt x="4516" y="3159"/>
                      <a:pt x="4539" y="3187"/>
                    </a:cubicBezTo>
                    <a:cubicBezTo>
                      <a:pt x="4562" y="3215"/>
                      <a:pt x="4531" y="3219"/>
                      <a:pt x="4524" y="3233"/>
                    </a:cubicBezTo>
                    <a:cubicBezTo>
                      <a:pt x="4516" y="3247"/>
                      <a:pt x="4503" y="3257"/>
                      <a:pt x="4493" y="3274"/>
                    </a:cubicBezTo>
                    <a:cubicBezTo>
                      <a:pt x="4483" y="3291"/>
                      <a:pt x="4478" y="3309"/>
                      <a:pt x="4465" y="3335"/>
                    </a:cubicBezTo>
                    <a:cubicBezTo>
                      <a:pt x="4451" y="3361"/>
                      <a:pt x="4426" y="3406"/>
                      <a:pt x="4411" y="3435"/>
                    </a:cubicBezTo>
                    <a:cubicBezTo>
                      <a:pt x="4397" y="3463"/>
                      <a:pt x="4386" y="3487"/>
                      <a:pt x="4378" y="3506"/>
                    </a:cubicBezTo>
                    <a:cubicBezTo>
                      <a:pt x="4370" y="3525"/>
                      <a:pt x="4374" y="3531"/>
                      <a:pt x="4368" y="3547"/>
                    </a:cubicBezTo>
                    <a:cubicBezTo>
                      <a:pt x="4362" y="3563"/>
                      <a:pt x="4351" y="3587"/>
                      <a:pt x="4342" y="3605"/>
                    </a:cubicBezTo>
                    <a:cubicBezTo>
                      <a:pt x="4334" y="3624"/>
                      <a:pt x="4330" y="3643"/>
                      <a:pt x="4317" y="3659"/>
                    </a:cubicBezTo>
                    <a:cubicBezTo>
                      <a:pt x="4304" y="3675"/>
                      <a:pt x="4282" y="3687"/>
                      <a:pt x="4266" y="3702"/>
                    </a:cubicBezTo>
                    <a:cubicBezTo>
                      <a:pt x="4250" y="3718"/>
                      <a:pt x="4234" y="3739"/>
                      <a:pt x="4217" y="3748"/>
                    </a:cubicBezTo>
                    <a:cubicBezTo>
                      <a:pt x="4200" y="3758"/>
                      <a:pt x="4180" y="3757"/>
                      <a:pt x="4161" y="3761"/>
                    </a:cubicBezTo>
                    <a:cubicBezTo>
                      <a:pt x="4143" y="3765"/>
                      <a:pt x="4126" y="3764"/>
                      <a:pt x="4108" y="3771"/>
                    </a:cubicBezTo>
                    <a:cubicBezTo>
                      <a:pt x="4090" y="3779"/>
                      <a:pt x="4066" y="3805"/>
                      <a:pt x="4054" y="3807"/>
                    </a:cubicBezTo>
                    <a:cubicBezTo>
                      <a:pt x="4042" y="3809"/>
                      <a:pt x="4040" y="3793"/>
                      <a:pt x="4034" y="3781"/>
                    </a:cubicBezTo>
                    <a:cubicBezTo>
                      <a:pt x="4028" y="3770"/>
                      <a:pt x="4041" y="3741"/>
                      <a:pt x="4016" y="3733"/>
                    </a:cubicBezTo>
                    <a:cubicBezTo>
                      <a:pt x="3990" y="3725"/>
                      <a:pt x="3902" y="3729"/>
                      <a:pt x="3881" y="3736"/>
                    </a:cubicBezTo>
                    <a:cubicBezTo>
                      <a:pt x="3859" y="3742"/>
                      <a:pt x="3880" y="3759"/>
                      <a:pt x="3886" y="3774"/>
                    </a:cubicBezTo>
                    <a:cubicBezTo>
                      <a:pt x="3892" y="3788"/>
                      <a:pt x="3910" y="3804"/>
                      <a:pt x="3916" y="3822"/>
                    </a:cubicBezTo>
                    <a:cubicBezTo>
                      <a:pt x="3923" y="3841"/>
                      <a:pt x="3933" y="3873"/>
                      <a:pt x="3927" y="3886"/>
                    </a:cubicBezTo>
                    <a:cubicBezTo>
                      <a:pt x="3921" y="3899"/>
                      <a:pt x="3893" y="3906"/>
                      <a:pt x="3881" y="3899"/>
                    </a:cubicBezTo>
                    <a:cubicBezTo>
                      <a:pt x="3869" y="3892"/>
                      <a:pt x="3866" y="3848"/>
                      <a:pt x="3853" y="3843"/>
                    </a:cubicBezTo>
                    <a:cubicBezTo>
                      <a:pt x="3839" y="3838"/>
                      <a:pt x="3809" y="3867"/>
                      <a:pt x="3797" y="3866"/>
                    </a:cubicBezTo>
                    <a:cubicBezTo>
                      <a:pt x="3784" y="3864"/>
                      <a:pt x="3785" y="3835"/>
                      <a:pt x="3774" y="3830"/>
                    </a:cubicBezTo>
                    <a:cubicBezTo>
                      <a:pt x="3762" y="3825"/>
                      <a:pt x="3729" y="3821"/>
                      <a:pt x="3725" y="3832"/>
                    </a:cubicBezTo>
                    <a:cubicBezTo>
                      <a:pt x="3721" y="3844"/>
                      <a:pt x="3740" y="3882"/>
                      <a:pt x="3748" y="3904"/>
                    </a:cubicBezTo>
                    <a:cubicBezTo>
                      <a:pt x="3757" y="3926"/>
                      <a:pt x="3768" y="3947"/>
                      <a:pt x="3776" y="3968"/>
                    </a:cubicBezTo>
                    <a:cubicBezTo>
                      <a:pt x="3784" y="3988"/>
                      <a:pt x="3791" y="4010"/>
                      <a:pt x="3797" y="4026"/>
                    </a:cubicBezTo>
                    <a:cubicBezTo>
                      <a:pt x="3802" y="4043"/>
                      <a:pt x="3808" y="4049"/>
                      <a:pt x="3814" y="4065"/>
                    </a:cubicBezTo>
                    <a:cubicBezTo>
                      <a:pt x="3820" y="4080"/>
                      <a:pt x="3831" y="4097"/>
                      <a:pt x="3835" y="4118"/>
                    </a:cubicBezTo>
                    <a:cubicBezTo>
                      <a:pt x="3839" y="4139"/>
                      <a:pt x="3842" y="4176"/>
                      <a:pt x="3842" y="4195"/>
                    </a:cubicBezTo>
                    <a:cubicBezTo>
                      <a:pt x="3842" y="4213"/>
                      <a:pt x="3838" y="4219"/>
                      <a:pt x="3835" y="4230"/>
                    </a:cubicBezTo>
                    <a:cubicBezTo>
                      <a:pt x="3831" y="4242"/>
                      <a:pt x="3825" y="4253"/>
                      <a:pt x="3820" y="4264"/>
                    </a:cubicBezTo>
                    <a:cubicBezTo>
                      <a:pt x="3814" y="4275"/>
                      <a:pt x="3808" y="4287"/>
                      <a:pt x="3799" y="4297"/>
                    </a:cubicBezTo>
                    <a:cubicBezTo>
                      <a:pt x="3790" y="4307"/>
                      <a:pt x="3774" y="4327"/>
                      <a:pt x="3761" y="4327"/>
                    </a:cubicBezTo>
                    <a:cubicBezTo>
                      <a:pt x="3748" y="4328"/>
                      <a:pt x="3742" y="4310"/>
                      <a:pt x="3723" y="4304"/>
                    </a:cubicBezTo>
                    <a:cubicBezTo>
                      <a:pt x="3703" y="4299"/>
                      <a:pt x="3676" y="4298"/>
                      <a:pt x="3645" y="4296"/>
                    </a:cubicBezTo>
                    <a:cubicBezTo>
                      <a:pt x="3615" y="4294"/>
                      <a:pt x="3578" y="4297"/>
                      <a:pt x="3539" y="4297"/>
                    </a:cubicBezTo>
                    <a:cubicBezTo>
                      <a:pt x="3500" y="4297"/>
                      <a:pt x="3446" y="4296"/>
                      <a:pt x="3411" y="4297"/>
                    </a:cubicBezTo>
                    <a:cubicBezTo>
                      <a:pt x="3377" y="4298"/>
                      <a:pt x="3340" y="4289"/>
                      <a:pt x="3327" y="4302"/>
                    </a:cubicBezTo>
                    <a:cubicBezTo>
                      <a:pt x="3314" y="4315"/>
                      <a:pt x="3328" y="4355"/>
                      <a:pt x="3335" y="4373"/>
                    </a:cubicBezTo>
                    <a:cubicBezTo>
                      <a:pt x="3342" y="4392"/>
                      <a:pt x="3354" y="4403"/>
                      <a:pt x="3368" y="4417"/>
                    </a:cubicBezTo>
                    <a:cubicBezTo>
                      <a:pt x="3382" y="4430"/>
                      <a:pt x="3411" y="4443"/>
                      <a:pt x="3416" y="4455"/>
                    </a:cubicBezTo>
                    <a:cubicBezTo>
                      <a:pt x="3422" y="4467"/>
                      <a:pt x="3402" y="4476"/>
                      <a:pt x="3399" y="4491"/>
                    </a:cubicBezTo>
                    <a:cubicBezTo>
                      <a:pt x="3395" y="4505"/>
                      <a:pt x="3399" y="4528"/>
                      <a:pt x="3396" y="4544"/>
                    </a:cubicBezTo>
                    <a:cubicBezTo>
                      <a:pt x="3393" y="4560"/>
                      <a:pt x="3382" y="4575"/>
                      <a:pt x="3378" y="4590"/>
                    </a:cubicBezTo>
                    <a:cubicBezTo>
                      <a:pt x="3375" y="4605"/>
                      <a:pt x="3380" y="4621"/>
                      <a:pt x="3376" y="4636"/>
                    </a:cubicBezTo>
                    <a:cubicBezTo>
                      <a:pt x="3371" y="4651"/>
                      <a:pt x="3361" y="4664"/>
                      <a:pt x="3353" y="4682"/>
                    </a:cubicBezTo>
                    <a:cubicBezTo>
                      <a:pt x="3344" y="4700"/>
                      <a:pt x="3320" y="4720"/>
                      <a:pt x="3325" y="4743"/>
                    </a:cubicBezTo>
                    <a:cubicBezTo>
                      <a:pt x="3329" y="4766"/>
                      <a:pt x="3355" y="4785"/>
                      <a:pt x="3378" y="4820"/>
                    </a:cubicBezTo>
                    <a:cubicBezTo>
                      <a:pt x="3401" y="4855"/>
                      <a:pt x="3444" y="4920"/>
                      <a:pt x="3462" y="4955"/>
                    </a:cubicBezTo>
                    <a:cubicBezTo>
                      <a:pt x="3481" y="4990"/>
                      <a:pt x="3497" y="5006"/>
                      <a:pt x="3490" y="5026"/>
                    </a:cubicBezTo>
                    <a:cubicBezTo>
                      <a:pt x="3484" y="5047"/>
                      <a:pt x="3443" y="5063"/>
                      <a:pt x="3419" y="5080"/>
                    </a:cubicBezTo>
                    <a:cubicBezTo>
                      <a:pt x="3395" y="5097"/>
                      <a:pt x="3375" y="5111"/>
                      <a:pt x="3350" y="5128"/>
                    </a:cubicBezTo>
                    <a:cubicBezTo>
                      <a:pt x="3325" y="5145"/>
                      <a:pt x="3299" y="5164"/>
                      <a:pt x="3274" y="5182"/>
                    </a:cubicBezTo>
                    <a:cubicBezTo>
                      <a:pt x="3248" y="5200"/>
                      <a:pt x="3208" y="5218"/>
                      <a:pt x="3195" y="5236"/>
                    </a:cubicBezTo>
                    <a:cubicBezTo>
                      <a:pt x="3181" y="5253"/>
                      <a:pt x="3189" y="5265"/>
                      <a:pt x="3189" y="5289"/>
                    </a:cubicBezTo>
                    <a:cubicBezTo>
                      <a:pt x="3189" y="5314"/>
                      <a:pt x="3192" y="5363"/>
                      <a:pt x="3195" y="5384"/>
                    </a:cubicBezTo>
                    <a:cubicBezTo>
                      <a:pt x="3197" y="5404"/>
                      <a:pt x="3206" y="5400"/>
                      <a:pt x="3207" y="5414"/>
                    </a:cubicBezTo>
                    <a:cubicBezTo>
                      <a:pt x="3209" y="5429"/>
                      <a:pt x="3208" y="5453"/>
                      <a:pt x="3207" y="5473"/>
                    </a:cubicBezTo>
                    <a:cubicBezTo>
                      <a:pt x="3206" y="5492"/>
                      <a:pt x="3217" y="5520"/>
                      <a:pt x="3202" y="5532"/>
                    </a:cubicBezTo>
                    <a:cubicBezTo>
                      <a:pt x="3188" y="5543"/>
                      <a:pt x="3155" y="5543"/>
                      <a:pt x="3121" y="5547"/>
                    </a:cubicBezTo>
                    <a:cubicBezTo>
                      <a:pt x="3087" y="5551"/>
                      <a:pt x="3033" y="5554"/>
                      <a:pt x="2998" y="5557"/>
                    </a:cubicBezTo>
                    <a:cubicBezTo>
                      <a:pt x="2963" y="5560"/>
                      <a:pt x="2937" y="5561"/>
                      <a:pt x="2911" y="5570"/>
                    </a:cubicBezTo>
                    <a:cubicBezTo>
                      <a:pt x="2886" y="5578"/>
                      <a:pt x="2862" y="5597"/>
                      <a:pt x="2845" y="5611"/>
                    </a:cubicBezTo>
                    <a:cubicBezTo>
                      <a:pt x="2828" y="5624"/>
                      <a:pt x="2826" y="5641"/>
                      <a:pt x="2809" y="5651"/>
                    </a:cubicBezTo>
                    <a:cubicBezTo>
                      <a:pt x="2793" y="5662"/>
                      <a:pt x="2775" y="5651"/>
                      <a:pt x="2748" y="5674"/>
                    </a:cubicBezTo>
                    <a:cubicBezTo>
                      <a:pt x="2721" y="5698"/>
                      <a:pt x="2672" y="5779"/>
                      <a:pt x="2649" y="5794"/>
                    </a:cubicBezTo>
                    <a:cubicBezTo>
                      <a:pt x="2626" y="5810"/>
                      <a:pt x="2642" y="5772"/>
                      <a:pt x="2608" y="5766"/>
                    </a:cubicBezTo>
                    <a:cubicBezTo>
                      <a:pt x="2574" y="5760"/>
                      <a:pt x="2480" y="5754"/>
                      <a:pt x="2442" y="5759"/>
                    </a:cubicBezTo>
                    <a:cubicBezTo>
                      <a:pt x="2404" y="5763"/>
                      <a:pt x="2386" y="5777"/>
                      <a:pt x="2378" y="5792"/>
                    </a:cubicBezTo>
                    <a:cubicBezTo>
                      <a:pt x="2371" y="5806"/>
                      <a:pt x="2396" y="5825"/>
                      <a:pt x="2394" y="5843"/>
                    </a:cubicBezTo>
                    <a:cubicBezTo>
                      <a:pt x="2391" y="5861"/>
                      <a:pt x="2377" y="5879"/>
                      <a:pt x="2363" y="5899"/>
                    </a:cubicBezTo>
                    <a:cubicBezTo>
                      <a:pt x="2349" y="5918"/>
                      <a:pt x="2326" y="5941"/>
                      <a:pt x="2307" y="5963"/>
                    </a:cubicBezTo>
                    <a:cubicBezTo>
                      <a:pt x="2287" y="5985"/>
                      <a:pt x="2266" y="6015"/>
                      <a:pt x="2243" y="6029"/>
                    </a:cubicBezTo>
                    <a:cubicBezTo>
                      <a:pt x="2220" y="6044"/>
                      <a:pt x="2184" y="6060"/>
                      <a:pt x="2169" y="6049"/>
                    </a:cubicBezTo>
                    <a:cubicBezTo>
                      <a:pt x="2155" y="6039"/>
                      <a:pt x="2163" y="5976"/>
                      <a:pt x="2156" y="5968"/>
                    </a:cubicBezTo>
                    <a:cubicBezTo>
                      <a:pt x="2150" y="5959"/>
                      <a:pt x="2133" y="5975"/>
                      <a:pt x="2128" y="5998"/>
                    </a:cubicBezTo>
                    <a:cubicBezTo>
                      <a:pt x="2124" y="6022"/>
                      <a:pt x="2132" y="6074"/>
                      <a:pt x="2131" y="6111"/>
                    </a:cubicBezTo>
                    <a:cubicBezTo>
                      <a:pt x="2130" y="6147"/>
                      <a:pt x="2125" y="6186"/>
                      <a:pt x="2123" y="6218"/>
                    </a:cubicBezTo>
                    <a:cubicBezTo>
                      <a:pt x="2121" y="6249"/>
                      <a:pt x="2127" y="6269"/>
                      <a:pt x="2118" y="6302"/>
                    </a:cubicBezTo>
                    <a:cubicBezTo>
                      <a:pt x="2110" y="6335"/>
                      <a:pt x="2092" y="6396"/>
                      <a:pt x="2072" y="6414"/>
                    </a:cubicBezTo>
                    <a:cubicBezTo>
                      <a:pt x="2053" y="6433"/>
                      <a:pt x="2023" y="6407"/>
                      <a:pt x="2003" y="6414"/>
                    </a:cubicBezTo>
                    <a:cubicBezTo>
                      <a:pt x="1984" y="6422"/>
                      <a:pt x="1965" y="6447"/>
                      <a:pt x="1952" y="6463"/>
                    </a:cubicBezTo>
                    <a:cubicBezTo>
                      <a:pt x="1940" y="6479"/>
                      <a:pt x="1939" y="6499"/>
                      <a:pt x="1924" y="6514"/>
                    </a:cubicBezTo>
                    <a:cubicBezTo>
                      <a:pt x="1910" y="6528"/>
                      <a:pt x="1883" y="6540"/>
                      <a:pt x="1863" y="6549"/>
                    </a:cubicBezTo>
                    <a:cubicBezTo>
                      <a:pt x="1843" y="6559"/>
                      <a:pt x="1822" y="6563"/>
                      <a:pt x="1802" y="6570"/>
                    </a:cubicBezTo>
                    <a:cubicBezTo>
                      <a:pt x="1781" y="6577"/>
                      <a:pt x="1758" y="6582"/>
                      <a:pt x="1738" y="6590"/>
                    </a:cubicBezTo>
                    <a:cubicBezTo>
                      <a:pt x="1718" y="6599"/>
                      <a:pt x="1716" y="6614"/>
                      <a:pt x="1684" y="6618"/>
                    </a:cubicBezTo>
                    <a:cubicBezTo>
                      <a:pt x="1653" y="6623"/>
                      <a:pt x="1581" y="6602"/>
                      <a:pt x="1547" y="6618"/>
                    </a:cubicBezTo>
                    <a:cubicBezTo>
                      <a:pt x="1513" y="6635"/>
                      <a:pt x="1497" y="6691"/>
                      <a:pt x="1478" y="6718"/>
                    </a:cubicBezTo>
                    <a:cubicBezTo>
                      <a:pt x="1459" y="6744"/>
                      <a:pt x="1447" y="6759"/>
                      <a:pt x="1434" y="6779"/>
                    </a:cubicBezTo>
                    <a:cubicBezTo>
                      <a:pt x="1422" y="6799"/>
                      <a:pt x="1425" y="6823"/>
                      <a:pt x="1401" y="6838"/>
                    </a:cubicBezTo>
                    <a:cubicBezTo>
                      <a:pt x="1377" y="6852"/>
                      <a:pt x="1324" y="6856"/>
                      <a:pt x="1292" y="6868"/>
                    </a:cubicBezTo>
                    <a:cubicBezTo>
                      <a:pt x="1259" y="6880"/>
                      <a:pt x="1218" y="6890"/>
                      <a:pt x="1205" y="6909"/>
                    </a:cubicBezTo>
                    <a:cubicBezTo>
                      <a:pt x="1191" y="6928"/>
                      <a:pt x="1192" y="6957"/>
                      <a:pt x="1210" y="6981"/>
                    </a:cubicBezTo>
                    <a:cubicBezTo>
                      <a:pt x="1228" y="7004"/>
                      <a:pt x="1279" y="7033"/>
                      <a:pt x="1312" y="7052"/>
                    </a:cubicBezTo>
                    <a:cubicBezTo>
                      <a:pt x="1345" y="7072"/>
                      <a:pt x="1378" y="7084"/>
                      <a:pt x="1409" y="7098"/>
                    </a:cubicBezTo>
                    <a:cubicBezTo>
                      <a:pt x="1440" y="7112"/>
                      <a:pt x="1469" y="7123"/>
                      <a:pt x="1496" y="7136"/>
                    </a:cubicBezTo>
                    <a:cubicBezTo>
                      <a:pt x="1522" y="7149"/>
                      <a:pt x="1539" y="7158"/>
                      <a:pt x="1567" y="7175"/>
                    </a:cubicBezTo>
                    <a:cubicBezTo>
                      <a:pt x="1595" y="7191"/>
                      <a:pt x="1638" y="7213"/>
                      <a:pt x="1667" y="7236"/>
                    </a:cubicBezTo>
                    <a:cubicBezTo>
                      <a:pt x="1695" y="7259"/>
                      <a:pt x="1719" y="7294"/>
                      <a:pt x="1741" y="7315"/>
                    </a:cubicBezTo>
                    <a:cubicBezTo>
                      <a:pt x="1762" y="7335"/>
                      <a:pt x="1770" y="7347"/>
                      <a:pt x="1794" y="7358"/>
                    </a:cubicBezTo>
                    <a:cubicBezTo>
                      <a:pt x="1818" y="7369"/>
                      <a:pt x="1868" y="7367"/>
                      <a:pt x="1883" y="7384"/>
                    </a:cubicBezTo>
                    <a:cubicBezTo>
                      <a:pt x="1899" y="7401"/>
                      <a:pt x="1887" y="7435"/>
                      <a:pt x="1885" y="7459"/>
                    </a:cubicBezTo>
                    <a:cubicBezTo>
                      <a:pt x="1883" y="7484"/>
                      <a:pt x="1880" y="7510"/>
                      <a:pt x="1873" y="7534"/>
                    </a:cubicBezTo>
                    <a:cubicBezTo>
                      <a:pt x="1866" y="7558"/>
                      <a:pt x="1854" y="7580"/>
                      <a:pt x="1845" y="7601"/>
                    </a:cubicBezTo>
                    <a:cubicBezTo>
                      <a:pt x="1837" y="7621"/>
                      <a:pt x="1828" y="7637"/>
                      <a:pt x="1820" y="7657"/>
                    </a:cubicBezTo>
                    <a:cubicBezTo>
                      <a:pt x="1811" y="7676"/>
                      <a:pt x="1800" y="7697"/>
                      <a:pt x="1792" y="7718"/>
                    </a:cubicBezTo>
                    <a:cubicBezTo>
                      <a:pt x="1783" y="7739"/>
                      <a:pt x="1774" y="7762"/>
                      <a:pt x="1766" y="7784"/>
                    </a:cubicBezTo>
                    <a:cubicBezTo>
                      <a:pt x="1758" y="7806"/>
                      <a:pt x="1764" y="7822"/>
                      <a:pt x="1748" y="7851"/>
                    </a:cubicBezTo>
                    <a:cubicBezTo>
                      <a:pt x="1733" y="7879"/>
                      <a:pt x="1690" y="7930"/>
                      <a:pt x="1672" y="7958"/>
                    </a:cubicBezTo>
                    <a:cubicBezTo>
                      <a:pt x="1653" y="7986"/>
                      <a:pt x="1634" y="8003"/>
                      <a:pt x="1633" y="8019"/>
                    </a:cubicBezTo>
                    <a:cubicBezTo>
                      <a:pt x="1633" y="8035"/>
                      <a:pt x="1653" y="8043"/>
                      <a:pt x="1669" y="8055"/>
                    </a:cubicBezTo>
                    <a:cubicBezTo>
                      <a:pt x="1685" y="8067"/>
                      <a:pt x="1724" y="8075"/>
                      <a:pt x="1728" y="8093"/>
                    </a:cubicBezTo>
                    <a:cubicBezTo>
                      <a:pt x="1732" y="8111"/>
                      <a:pt x="1704" y="8141"/>
                      <a:pt x="1695" y="8162"/>
                    </a:cubicBezTo>
                    <a:cubicBezTo>
                      <a:pt x="1685" y="8182"/>
                      <a:pt x="1682" y="8192"/>
                      <a:pt x="1669" y="8218"/>
                    </a:cubicBezTo>
                    <a:cubicBezTo>
                      <a:pt x="1656" y="8244"/>
                      <a:pt x="1630" y="8291"/>
                      <a:pt x="1616" y="8323"/>
                    </a:cubicBezTo>
                    <a:cubicBezTo>
                      <a:pt x="1601" y="8354"/>
                      <a:pt x="1591" y="8375"/>
                      <a:pt x="1582" y="8409"/>
                    </a:cubicBezTo>
                    <a:cubicBezTo>
                      <a:pt x="1574" y="8443"/>
                      <a:pt x="1581" y="8510"/>
                      <a:pt x="1562" y="8529"/>
                    </a:cubicBezTo>
                    <a:cubicBezTo>
                      <a:pt x="1543" y="8549"/>
                      <a:pt x="1498" y="8529"/>
                      <a:pt x="1470" y="8527"/>
                    </a:cubicBezTo>
                    <a:cubicBezTo>
                      <a:pt x="1442" y="8524"/>
                      <a:pt x="1400" y="8534"/>
                      <a:pt x="1394" y="8516"/>
                    </a:cubicBezTo>
                    <a:cubicBezTo>
                      <a:pt x="1388" y="8499"/>
                      <a:pt x="1426" y="8446"/>
                      <a:pt x="1432" y="8419"/>
                    </a:cubicBezTo>
                    <a:cubicBezTo>
                      <a:pt x="1438" y="8393"/>
                      <a:pt x="1442" y="8368"/>
                      <a:pt x="1432" y="8356"/>
                    </a:cubicBezTo>
                    <a:cubicBezTo>
                      <a:pt x="1422" y="8343"/>
                      <a:pt x="1389" y="8342"/>
                      <a:pt x="1368" y="8343"/>
                    </a:cubicBezTo>
                    <a:cubicBezTo>
                      <a:pt x="1347" y="8344"/>
                      <a:pt x="1321" y="8351"/>
                      <a:pt x="1302" y="8361"/>
                    </a:cubicBezTo>
                    <a:cubicBezTo>
                      <a:pt x="1282" y="8371"/>
                      <a:pt x="1256" y="8384"/>
                      <a:pt x="1253" y="8402"/>
                    </a:cubicBezTo>
                    <a:cubicBezTo>
                      <a:pt x="1251" y="8419"/>
                      <a:pt x="1272" y="8454"/>
                      <a:pt x="1286" y="8468"/>
                    </a:cubicBezTo>
                    <a:cubicBezTo>
                      <a:pt x="1301" y="8482"/>
                      <a:pt x="1326" y="8483"/>
                      <a:pt x="1343" y="8491"/>
                    </a:cubicBezTo>
                    <a:cubicBezTo>
                      <a:pt x="1360" y="8499"/>
                      <a:pt x="1377" y="8495"/>
                      <a:pt x="1389" y="8516"/>
                    </a:cubicBezTo>
                    <a:cubicBezTo>
                      <a:pt x="1400" y="8538"/>
                      <a:pt x="1405" y="8589"/>
                      <a:pt x="1409" y="8616"/>
                    </a:cubicBezTo>
                    <a:cubicBezTo>
                      <a:pt x="1413" y="8643"/>
                      <a:pt x="1418" y="8660"/>
                      <a:pt x="1417" y="8682"/>
                    </a:cubicBezTo>
                    <a:cubicBezTo>
                      <a:pt x="1415" y="8704"/>
                      <a:pt x="1400" y="8722"/>
                      <a:pt x="1399" y="8749"/>
                    </a:cubicBezTo>
                    <a:cubicBezTo>
                      <a:pt x="1398" y="8775"/>
                      <a:pt x="1406" y="8817"/>
                      <a:pt x="1411" y="8840"/>
                    </a:cubicBezTo>
                    <a:cubicBezTo>
                      <a:pt x="1417" y="8863"/>
                      <a:pt x="1428" y="8868"/>
                      <a:pt x="1434" y="8886"/>
                    </a:cubicBezTo>
                    <a:cubicBezTo>
                      <a:pt x="1440" y="8904"/>
                      <a:pt x="1445" y="8922"/>
                      <a:pt x="1445" y="8948"/>
                    </a:cubicBezTo>
                    <a:cubicBezTo>
                      <a:pt x="1444" y="8973"/>
                      <a:pt x="1428" y="9009"/>
                      <a:pt x="1427" y="9042"/>
                    </a:cubicBezTo>
                    <a:cubicBezTo>
                      <a:pt x="1426" y="9075"/>
                      <a:pt x="1427" y="9136"/>
                      <a:pt x="1440" y="9149"/>
                    </a:cubicBezTo>
                    <a:cubicBezTo>
                      <a:pt x="1452" y="9162"/>
                      <a:pt x="1490" y="9110"/>
                      <a:pt x="1506" y="9119"/>
                    </a:cubicBezTo>
                    <a:cubicBezTo>
                      <a:pt x="1522" y="9127"/>
                      <a:pt x="1528" y="9187"/>
                      <a:pt x="1536" y="9200"/>
                    </a:cubicBezTo>
                    <a:cubicBezTo>
                      <a:pt x="1545" y="9213"/>
                      <a:pt x="1553" y="9213"/>
                      <a:pt x="1559" y="9195"/>
                    </a:cubicBezTo>
                    <a:cubicBezTo>
                      <a:pt x="1565" y="9177"/>
                      <a:pt x="1565" y="9127"/>
                      <a:pt x="1570" y="9093"/>
                    </a:cubicBezTo>
                    <a:cubicBezTo>
                      <a:pt x="1574" y="9059"/>
                      <a:pt x="1583" y="9019"/>
                      <a:pt x="1587" y="8988"/>
                    </a:cubicBezTo>
                    <a:cubicBezTo>
                      <a:pt x="1592" y="8958"/>
                      <a:pt x="1592" y="8933"/>
                      <a:pt x="1598" y="8907"/>
                    </a:cubicBezTo>
                    <a:cubicBezTo>
                      <a:pt x="1604" y="8880"/>
                      <a:pt x="1617" y="8857"/>
                      <a:pt x="1626" y="8830"/>
                    </a:cubicBezTo>
                    <a:cubicBezTo>
                      <a:pt x="1634" y="8803"/>
                      <a:pt x="1644" y="8766"/>
                      <a:pt x="1651" y="8741"/>
                    </a:cubicBezTo>
                    <a:cubicBezTo>
                      <a:pt x="1659" y="8715"/>
                      <a:pt x="1668" y="8697"/>
                      <a:pt x="1674" y="8675"/>
                    </a:cubicBezTo>
                    <a:cubicBezTo>
                      <a:pt x="1680" y="8652"/>
                      <a:pt x="1677" y="8629"/>
                      <a:pt x="1687" y="8608"/>
                    </a:cubicBezTo>
                    <a:cubicBezTo>
                      <a:pt x="1697" y="8588"/>
                      <a:pt x="1724" y="8563"/>
                      <a:pt x="1738" y="8552"/>
                    </a:cubicBezTo>
                    <a:cubicBezTo>
                      <a:pt x="1752" y="8541"/>
                      <a:pt x="1754" y="8534"/>
                      <a:pt x="1769" y="8539"/>
                    </a:cubicBezTo>
                    <a:cubicBezTo>
                      <a:pt x="1783" y="8544"/>
                      <a:pt x="1811" y="8567"/>
                      <a:pt x="1825" y="8583"/>
                    </a:cubicBezTo>
                    <a:cubicBezTo>
                      <a:pt x="1838" y="8599"/>
                      <a:pt x="1848" y="8616"/>
                      <a:pt x="1853" y="8636"/>
                    </a:cubicBezTo>
                    <a:cubicBezTo>
                      <a:pt x="1858" y="8657"/>
                      <a:pt x="1852" y="8682"/>
                      <a:pt x="1855" y="8705"/>
                    </a:cubicBezTo>
                    <a:cubicBezTo>
                      <a:pt x="1859" y="8728"/>
                      <a:pt x="1856" y="8768"/>
                      <a:pt x="1876" y="8774"/>
                    </a:cubicBezTo>
                    <a:cubicBezTo>
                      <a:pt x="1895" y="8780"/>
                      <a:pt x="1940" y="8754"/>
                      <a:pt x="1975" y="8743"/>
                    </a:cubicBezTo>
                    <a:cubicBezTo>
                      <a:pt x="2011" y="8733"/>
                      <a:pt x="2068" y="8727"/>
                      <a:pt x="2093" y="8713"/>
                    </a:cubicBezTo>
                    <a:cubicBezTo>
                      <a:pt x="2117" y="8698"/>
                      <a:pt x="2118" y="8677"/>
                      <a:pt x="2121" y="8657"/>
                    </a:cubicBezTo>
                    <a:cubicBezTo>
                      <a:pt x="2123" y="8636"/>
                      <a:pt x="2108" y="8609"/>
                      <a:pt x="2108" y="8588"/>
                    </a:cubicBezTo>
                    <a:cubicBezTo>
                      <a:pt x="2108" y="8567"/>
                      <a:pt x="2107" y="8547"/>
                      <a:pt x="2121" y="8527"/>
                    </a:cubicBezTo>
                    <a:cubicBezTo>
                      <a:pt x="2134" y="8506"/>
                      <a:pt x="2162" y="8480"/>
                      <a:pt x="2189" y="8468"/>
                    </a:cubicBezTo>
                    <a:cubicBezTo>
                      <a:pt x="2217" y="8456"/>
                      <a:pt x="2252" y="8459"/>
                      <a:pt x="2284" y="8453"/>
                    </a:cubicBezTo>
                    <a:cubicBezTo>
                      <a:pt x="2315" y="8447"/>
                      <a:pt x="2354" y="8437"/>
                      <a:pt x="2381" y="8432"/>
                    </a:cubicBezTo>
                    <a:cubicBezTo>
                      <a:pt x="2408" y="8427"/>
                      <a:pt x="2427" y="8423"/>
                      <a:pt x="2450" y="8425"/>
                    </a:cubicBezTo>
                    <a:cubicBezTo>
                      <a:pt x="2473" y="8426"/>
                      <a:pt x="2501" y="8436"/>
                      <a:pt x="2521" y="8442"/>
                    </a:cubicBezTo>
                    <a:cubicBezTo>
                      <a:pt x="2542" y="8449"/>
                      <a:pt x="2555" y="8465"/>
                      <a:pt x="2572" y="8465"/>
                    </a:cubicBezTo>
                    <a:cubicBezTo>
                      <a:pt x="2589" y="8465"/>
                      <a:pt x="2604" y="8448"/>
                      <a:pt x="2623" y="8442"/>
                    </a:cubicBezTo>
                    <a:cubicBezTo>
                      <a:pt x="2642" y="8437"/>
                      <a:pt x="2667" y="8431"/>
                      <a:pt x="2684" y="8437"/>
                    </a:cubicBezTo>
                    <a:cubicBezTo>
                      <a:pt x="2701" y="8443"/>
                      <a:pt x="2722" y="8461"/>
                      <a:pt x="2728" y="8481"/>
                    </a:cubicBezTo>
                    <a:cubicBezTo>
                      <a:pt x="2734" y="8500"/>
                      <a:pt x="2726" y="8532"/>
                      <a:pt x="2723" y="8557"/>
                    </a:cubicBezTo>
                    <a:cubicBezTo>
                      <a:pt x="2719" y="8583"/>
                      <a:pt x="2712" y="8609"/>
                      <a:pt x="2707" y="8634"/>
                    </a:cubicBezTo>
                    <a:cubicBezTo>
                      <a:pt x="2702" y="8658"/>
                      <a:pt x="2697" y="8681"/>
                      <a:pt x="2689" y="8705"/>
                    </a:cubicBezTo>
                    <a:cubicBezTo>
                      <a:pt x="2682" y="8730"/>
                      <a:pt x="2670" y="8755"/>
                      <a:pt x="2661" y="8782"/>
                    </a:cubicBezTo>
                    <a:cubicBezTo>
                      <a:pt x="2653" y="8808"/>
                      <a:pt x="2646" y="8835"/>
                      <a:pt x="2638" y="8863"/>
                    </a:cubicBezTo>
                    <a:cubicBezTo>
                      <a:pt x="2631" y="8891"/>
                      <a:pt x="2619" y="8923"/>
                      <a:pt x="2613" y="8950"/>
                    </a:cubicBezTo>
                    <a:cubicBezTo>
                      <a:pt x="2607" y="8977"/>
                      <a:pt x="2607" y="8999"/>
                      <a:pt x="2600" y="9027"/>
                    </a:cubicBezTo>
                    <a:cubicBezTo>
                      <a:pt x="2593" y="9055"/>
                      <a:pt x="2581" y="9086"/>
                      <a:pt x="2572" y="9119"/>
                    </a:cubicBezTo>
                    <a:cubicBezTo>
                      <a:pt x="2563" y="9151"/>
                      <a:pt x="2549" y="9190"/>
                      <a:pt x="2542" y="9221"/>
                    </a:cubicBezTo>
                    <a:cubicBezTo>
                      <a:pt x="2534" y="9251"/>
                      <a:pt x="2536" y="9278"/>
                      <a:pt x="2526" y="9302"/>
                    </a:cubicBezTo>
                    <a:cubicBezTo>
                      <a:pt x="2516" y="9327"/>
                      <a:pt x="2494" y="9346"/>
                      <a:pt x="2480" y="9369"/>
                    </a:cubicBezTo>
                    <a:cubicBezTo>
                      <a:pt x="2467" y="9391"/>
                      <a:pt x="2462" y="9411"/>
                      <a:pt x="2445" y="9435"/>
                    </a:cubicBezTo>
                    <a:cubicBezTo>
                      <a:pt x="2428" y="9459"/>
                      <a:pt x="2403" y="9488"/>
                      <a:pt x="2381" y="9511"/>
                    </a:cubicBezTo>
                    <a:cubicBezTo>
                      <a:pt x="2359" y="9535"/>
                      <a:pt x="2331" y="9561"/>
                      <a:pt x="2312" y="9580"/>
                    </a:cubicBezTo>
                    <a:cubicBezTo>
                      <a:pt x="2292" y="9600"/>
                      <a:pt x="2280" y="9613"/>
                      <a:pt x="2263" y="9629"/>
                    </a:cubicBezTo>
                    <a:cubicBezTo>
                      <a:pt x="2247" y="9645"/>
                      <a:pt x="2237" y="9652"/>
                      <a:pt x="2215" y="9677"/>
                    </a:cubicBezTo>
                    <a:cubicBezTo>
                      <a:pt x="2193" y="9703"/>
                      <a:pt x="2153" y="9749"/>
                      <a:pt x="2131" y="9779"/>
                    </a:cubicBezTo>
                    <a:cubicBezTo>
                      <a:pt x="2109" y="9809"/>
                      <a:pt x="2099" y="9830"/>
                      <a:pt x="2082" y="9856"/>
                    </a:cubicBezTo>
                    <a:cubicBezTo>
                      <a:pt x="2066" y="9881"/>
                      <a:pt x="2047" y="9905"/>
                      <a:pt x="2036" y="9932"/>
                    </a:cubicBezTo>
                    <a:cubicBezTo>
                      <a:pt x="2025" y="9960"/>
                      <a:pt x="2017" y="9991"/>
                      <a:pt x="2016" y="10017"/>
                    </a:cubicBezTo>
                    <a:cubicBezTo>
                      <a:pt x="2015" y="10042"/>
                      <a:pt x="2019" y="10063"/>
                      <a:pt x="2031" y="10085"/>
                    </a:cubicBezTo>
                    <a:cubicBezTo>
                      <a:pt x="2043" y="10108"/>
                      <a:pt x="2076" y="10130"/>
                      <a:pt x="2087" y="10149"/>
                    </a:cubicBezTo>
                    <a:cubicBezTo>
                      <a:pt x="2099" y="10168"/>
                      <a:pt x="2105" y="10177"/>
                      <a:pt x="2105" y="10198"/>
                    </a:cubicBezTo>
                    <a:cubicBezTo>
                      <a:pt x="2105" y="10218"/>
                      <a:pt x="2093" y="10250"/>
                      <a:pt x="2085" y="10274"/>
                    </a:cubicBezTo>
                    <a:cubicBezTo>
                      <a:pt x="2077" y="10299"/>
                      <a:pt x="2068" y="10322"/>
                      <a:pt x="2059" y="10346"/>
                    </a:cubicBezTo>
                    <a:cubicBezTo>
                      <a:pt x="2051" y="10369"/>
                      <a:pt x="2042" y="10389"/>
                      <a:pt x="2031" y="10417"/>
                    </a:cubicBezTo>
                    <a:cubicBezTo>
                      <a:pt x="2020" y="10445"/>
                      <a:pt x="2005" y="10485"/>
                      <a:pt x="1993" y="10514"/>
                    </a:cubicBezTo>
                    <a:cubicBezTo>
                      <a:pt x="1981" y="10543"/>
                      <a:pt x="1970" y="10566"/>
                      <a:pt x="1960" y="10593"/>
                    </a:cubicBezTo>
                    <a:cubicBezTo>
                      <a:pt x="1950" y="10620"/>
                      <a:pt x="1941" y="10648"/>
                      <a:pt x="1934" y="10675"/>
                    </a:cubicBezTo>
                    <a:cubicBezTo>
                      <a:pt x="1928" y="10702"/>
                      <a:pt x="1933" y="10742"/>
                      <a:pt x="1919" y="10756"/>
                    </a:cubicBezTo>
                    <a:cubicBezTo>
                      <a:pt x="1906" y="10771"/>
                      <a:pt x="1874" y="10761"/>
                      <a:pt x="1853" y="10761"/>
                    </a:cubicBezTo>
                    <a:cubicBezTo>
                      <a:pt x="1832" y="10761"/>
                      <a:pt x="1810" y="10761"/>
                      <a:pt x="1789" y="10759"/>
                    </a:cubicBezTo>
                    <a:cubicBezTo>
                      <a:pt x="1768" y="10757"/>
                      <a:pt x="1748" y="10754"/>
                      <a:pt x="1725" y="10751"/>
                    </a:cubicBezTo>
                    <a:cubicBezTo>
                      <a:pt x="1702" y="10749"/>
                      <a:pt x="1677" y="10750"/>
                      <a:pt x="1651" y="10744"/>
                    </a:cubicBezTo>
                    <a:cubicBezTo>
                      <a:pt x="1626" y="10737"/>
                      <a:pt x="1593" y="10717"/>
                      <a:pt x="1572" y="10708"/>
                    </a:cubicBezTo>
                    <a:cubicBezTo>
                      <a:pt x="1551" y="10699"/>
                      <a:pt x="1538" y="10693"/>
                      <a:pt x="1521" y="10687"/>
                    </a:cubicBezTo>
                    <a:cubicBezTo>
                      <a:pt x="1504" y="10682"/>
                      <a:pt x="1487" y="10676"/>
                      <a:pt x="1468" y="10675"/>
                    </a:cubicBezTo>
                    <a:cubicBezTo>
                      <a:pt x="1448" y="10674"/>
                      <a:pt x="1423" y="10682"/>
                      <a:pt x="1404" y="10680"/>
                    </a:cubicBezTo>
                    <a:cubicBezTo>
                      <a:pt x="1385" y="10677"/>
                      <a:pt x="1374" y="10662"/>
                      <a:pt x="1355" y="10659"/>
                    </a:cubicBezTo>
                    <a:cubicBezTo>
                      <a:pt x="1337" y="10657"/>
                      <a:pt x="1304" y="10674"/>
                      <a:pt x="1292" y="10667"/>
                    </a:cubicBezTo>
                    <a:cubicBezTo>
                      <a:pt x="1279" y="10660"/>
                      <a:pt x="1277" y="10631"/>
                      <a:pt x="1279" y="10616"/>
                    </a:cubicBezTo>
                    <a:cubicBezTo>
                      <a:pt x="1281" y="10601"/>
                      <a:pt x="1297" y="10588"/>
                      <a:pt x="1304" y="10575"/>
                    </a:cubicBezTo>
                    <a:cubicBezTo>
                      <a:pt x="1312" y="10562"/>
                      <a:pt x="1317" y="10549"/>
                      <a:pt x="1325" y="10537"/>
                    </a:cubicBezTo>
                    <a:cubicBezTo>
                      <a:pt x="1332" y="10525"/>
                      <a:pt x="1343" y="10516"/>
                      <a:pt x="1350" y="10504"/>
                    </a:cubicBezTo>
                    <a:cubicBezTo>
                      <a:pt x="1358" y="10492"/>
                      <a:pt x="1370" y="10477"/>
                      <a:pt x="1373" y="10463"/>
                    </a:cubicBezTo>
                    <a:cubicBezTo>
                      <a:pt x="1377" y="10449"/>
                      <a:pt x="1374" y="10431"/>
                      <a:pt x="1371" y="10417"/>
                    </a:cubicBezTo>
                    <a:cubicBezTo>
                      <a:pt x="1367" y="10403"/>
                      <a:pt x="1354" y="10395"/>
                      <a:pt x="1350" y="10381"/>
                    </a:cubicBezTo>
                    <a:cubicBezTo>
                      <a:pt x="1347" y="10368"/>
                      <a:pt x="1343" y="10351"/>
                      <a:pt x="1348" y="10335"/>
                    </a:cubicBezTo>
                    <a:cubicBezTo>
                      <a:pt x="1353" y="10320"/>
                      <a:pt x="1369" y="10301"/>
                      <a:pt x="1381" y="10287"/>
                    </a:cubicBezTo>
                    <a:cubicBezTo>
                      <a:pt x="1393" y="10272"/>
                      <a:pt x="1413" y="10260"/>
                      <a:pt x="1419" y="10246"/>
                    </a:cubicBezTo>
                    <a:cubicBezTo>
                      <a:pt x="1425" y="10233"/>
                      <a:pt x="1423" y="10212"/>
                      <a:pt x="1417" y="10203"/>
                    </a:cubicBezTo>
                    <a:cubicBezTo>
                      <a:pt x="1410" y="10193"/>
                      <a:pt x="1391" y="10193"/>
                      <a:pt x="1378" y="10190"/>
                    </a:cubicBezTo>
                    <a:cubicBezTo>
                      <a:pt x="1366" y="10187"/>
                      <a:pt x="1352" y="10176"/>
                      <a:pt x="1338" y="10182"/>
                    </a:cubicBezTo>
                    <a:cubicBezTo>
                      <a:pt x="1323" y="10188"/>
                      <a:pt x="1306" y="10210"/>
                      <a:pt x="1292" y="10226"/>
                    </a:cubicBezTo>
                    <a:cubicBezTo>
                      <a:pt x="1277" y="10242"/>
                      <a:pt x="1258" y="10266"/>
                      <a:pt x="1248" y="10279"/>
                    </a:cubicBezTo>
                    <a:cubicBezTo>
                      <a:pt x="1238" y="10293"/>
                      <a:pt x="1232" y="10287"/>
                      <a:pt x="1228" y="10310"/>
                    </a:cubicBezTo>
                    <a:cubicBezTo>
                      <a:pt x="1224" y="10333"/>
                      <a:pt x="1230" y="10400"/>
                      <a:pt x="1223" y="10417"/>
                    </a:cubicBezTo>
                    <a:cubicBezTo>
                      <a:pt x="1216" y="10434"/>
                      <a:pt x="1196" y="10410"/>
                      <a:pt x="1187" y="10414"/>
                    </a:cubicBezTo>
                    <a:cubicBezTo>
                      <a:pt x="1179" y="10419"/>
                      <a:pt x="1174" y="10435"/>
                      <a:pt x="1169" y="10445"/>
                    </a:cubicBezTo>
                    <a:cubicBezTo>
                      <a:pt x="1164" y="10455"/>
                      <a:pt x="1168" y="10473"/>
                      <a:pt x="1156" y="10476"/>
                    </a:cubicBezTo>
                    <a:cubicBezTo>
                      <a:pt x="1144" y="10478"/>
                      <a:pt x="1116" y="10465"/>
                      <a:pt x="1098" y="10463"/>
                    </a:cubicBezTo>
                    <a:cubicBezTo>
                      <a:pt x="1079" y="10461"/>
                      <a:pt x="1059" y="10462"/>
                      <a:pt x="1044" y="10466"/>
                    </a:cubicBezTo>
                    <a:cubicBezTo>
                      <a:pt x="1029" y="10469"/>
                      <a:pt x="1019" y="10479"/>
                      <a:pt x="1006" y="10483"/>
                    </a:cubicBezTo>
                    <a:cubicBezTo>
                      <a:pt x="992" y="10488"/>
                      <a:pt x="974" y="10485"/>
                      <a:pt x="960" y="10491"/>
                    </a:cubicBezTo>
                    <a:cubicBezTo>
                      <a:pt x="946" y="10497"/>
                      <a:pt x="931" y="10511"/>
                      <a:pt x="924" y="10522"/>
                    </a:cubicBezTo>
                    <a:cubicBezTo>
                      <a:pt x="917" y="10533"/>
                      <a:pt x="913" y="10551"/>
                      <a:pt x="919" y="10557"/>
                    </a:cubicBezTo>
                    <a:cubicBezTo>
                      <a:pt x="925" y="10564"/>
                      <a:pt x="950" y="10560"/>
                      <a:pt x="963" y="10562"/>
                    </a:cubicBezTo>
                    <a:cubicBezTo>
                      <a:pt x="975" y="10565"/>
                      <a:pt x="991" y="10564"/>
                      <a:pt x="996" y="10575"/>
                    </a:cubicBezTo>
                    <a:cubicBezTo>
                      <a:pt x="1000" y="10586"/>
                      <a:pt x="991" y="10615"/>
                      <a:pt x="988" y="10631"/>
                    </a:cubicBezTo>
                    <a:cubicBezTo>
                      <a:pt x="985" y="10648"/>
                      <a:pt x="977" y="10653"/>
                      <a:pt x="973" y="10672"/>
                    </a:cubicBezTo>
                    <a:cubicBezTo>
                      <a:pt x="968" y="10692"/>
                      <a:pt x="964" y="10726"/>
                      <a:pt x="963" y="10749"/>
                    </a:cubicBezTo>
                    <a:cubicBezTo>
                      <a:pt x="961" y="10772"/>
                      <a:pt x="970" y="10793"/>
                      <a:pt x="960" y="10810"/>
                    </a:cubicBezTo>
                    <a:cubicBezTo>
                      <a:pt x="950" y="10827"/>
                      <a:pt x="913" y="10835"/>
                      <a:pt x="899" y="10851"/>
                    </a:cubicBezTo>
                    <a:cubicBezTo>
                      <a:pt x="884" y="10866"/>
                      <a:pt x="866" y="10892"/>
                      <a:pt x="871" y="10902"/>
                    </a:cubicBezTo>
                    <a:cubicBezTo>
                      <a:pt x="875" y="10912"/>
                      <a:pt x="917" y="10899"/>
                      <a:pt x="924" y="10915"/>
                    </a:cubicBezTo>
                    <a:cubicBezTo>
                      <a:pt x="932" y="10930"/>
                      <a:pt x="921" y="10969"/>
                      <a:pt x="917" y="10994"/>
                    </a:cubicBezTo>
                    <a:cubicBezTo>
                      <a:pt x="912" y="11018"/>
                      <a:pt x="909" y="11059"/>
                      <a:pt x="896" y="11062"/>
                    </a:cubicBezTo>
                    <a:cubicBezTo>
                      <a:pt x="883" y="11066"/>
                      <a:pt x="856" y="11032"/>
                      <a:pt x="838" y="11014"/>
                    </a:cubicBezTo>
                    <a:cubicBezTo>
                      <a:pt x="819" y="10996"/>
                      <a:pt x="802" y="10960"/>
                      <a:pt x="781" y="10955"/>
                    </a:cubicBezTo>
                    <a:cubicBezTo>
                      <a:pt x="761" y="10951"/>
                      <a:pt x="731" y="10982"/>
                      <a:pt x="715" y="10991"/>
                    </a:cubicBezTo>
                    <a:cubicBezTo>
                      <a:pt x="699" y="11000"/>
                      <a:pt x="696" y="11010"/>
                      <a:pt x="682" y="11011"/>
                    </a:cubicBezTo>
                    <a:cubicBezTo>
                      <a:pt x="667" y="11013"/>
                      <a:pt x="642" y="11007"/>
                      <a:pt x="626" y="11004"/>
                    </a:cubicBezTo>
                    <a:cubicBezTo>
                      <a:pt x="610" y="11000"/>
                      <a:pt x="598" y="10985"/>
                      <a:pt x="585" y="10989"/>
                    </a:cubicBezTo>
                    <a:cubicBezTo>
                      <a:pt x="572" y="10992"/>
                      <a:pt x="549" y="11016"/>
                      <a:pt x="549" y="11027"/>
                    </a:cubicBezTo>
                    <a:cubicBezTo>
                      <a:pt x="549" y="11038"/>
                      <a:pt x="581" y="11043"/>
                      <a:pt x="585" y="11055"/>
                    </a:cubicBezTo>
                    <a:cubicBezTo>
                      <a:pt x="589" y="11067"/>
                      <a:pt x="580" y="11082"/>
                      <a:pt x="575" y="11098"/>
                    </a:cubicBezTo>
                    <a:cubicBezTo>
                      <a:pt x="570" y="11114"/>
                      <a:pt x="560" y="11136"/>
                      <a:pt x="552" y="11152"/>
                    </a:cubicBezTo>
                    <a:cubicBezTo>
                      <a:pt x="543" y="11168"/>
                      <a:pt x="532" y="11183"/>
                      <a:pt x="521" y="11198"/>
                    </a:cubicBezTo>
                    <a:cubicBezTo>
                      <a:pt x="510" y="11212"/>
                      <a:pt x="494" y="11222"/>
                      <a:pt x="483" y="11239"/>
                    </a:cubicBezTo>
                    <a:cubicBezTo>
                      <a:pt x="472" y="11256"/>
                      <a:pt x="466" y="11282"/>
                      <a:pt x="455" y="11297"/>
                    </a:cubicBezTo>
                    <a:cubicBezTo>
                      <a:pt x="444" y="11313"/>
                      <a:pt x="431" y="11330"/>
                      <a:pt x="414" y="11333"/>
                    </a:cubicBezTo>
                    <a:cubicBezTo>
                      <a:pt x="397" y="11335"/>
                      <a:pt x="374" y="11314"/>
                      <a:pt x="353" y="11313"/>
                    </a:cubicBezTo>
                    <a:cubicBezTo>
                      <a:pt x="332" y="11311"/>
                      <a:pt x="304" y="11322"/>
                      <a:pt x="284" y="11323"/>
                    </a:cubicBezTo>
                    <a:cubicBezTo>
                      <a:pt x="264" y="11324"/>
                      <a:pt x="247" y="11326"/>
                      <a:pt x="236" y="11318"/>
                    </a:cubicBezTo>
                    <a:cubicBezTo>
                      <a:pt x="224" y="11309"/>
                      <a:pt x="224" y="11283"/>
                      <a:pt x="218" y="11272"/>
                    </a:cubicBezTo>
                    <a:cubicBezTo>
                      <a:pt x="211" y="11261"/>
                      <a:pt x="210" y="11249"/>
                      <a:pt x="195" y="11249"/>
                    </a:cubicBezTo>
                    <a:cubicBezTo>
                      <a:pt x="179" y="11249"/>
                      <a:pt x="146" y="11264"/>
                      <a:pt x="123" y="11274"/>
                    </a:cubicBezTo>
                    <a:cubicBezTo>
                      <a:pt x="100" y="11284"/>
                      <a:pt x="77" y="11298"/>
                      <a:pt x="60" y="11310"/>
                    </a:cubicBezTo>
                    <a:cubicBezTo>
                      <a:pt x="43" y="11322"/>
                      <a:pt x="28" y="11331"/>
                      <a:pt x="19" y="11343"/>
                    </a:cubicBezTo>
                    <a:cubicBezTo>
                      <a:pt x="9" y="11355"/>
                      <a:pt x="2" y="11369"/>
                      <a:pt x="1" y="11384"/>
                    </a:cubicBezTo>
                    <a:cubicBezTo>
                      <a:pt x="0" y="11399"/>
                      <a:pt x="7" y="11418"/>
                      <a:pt x="14" y="11435"/>
                    </a:cubicBezTo>
                    <a:cubicBezTo>
                      <a:pt x="20" y="11452"/>
                      <a:pt x="34" y="11471"/>
                      <a:pt x="42" y="11489"/>
                    </a:cubicBezTo>
                    <a:cubicBezTo>
                      <a:pt x="49" y="11506"/>
                      <a:pt x="48" y="11539"/>
                      <a:pt x="60" y="11545"/>
                    </a:cubicBezTo>
                    <a:cubicBezTo>
                      <a:pt x="71" y="11551"/>
                      <a:pt x="94" y="11529"/>
                      <a:pt x="108" y="11524"/>
                    </a:cubicBezTo>
                    <a:cubicBezTo>
                      <a:pt x="122" y="11519"/>
                      <a:pt x="140" y="11508"/>
                      <a:pt x="149" y="11514"/>
                    </a:cubicBezTo>
                    <a:cubicBezTo>
                      <a:pt x="157" y="11520"/>
                      <a:pt x="156" y="11545"/>
                      <a:pt x="159" y="11560"/>
                    </a:cubicBezTo>
                    <a:cubicBezTo>
                      <a:pt x="162" y="11575"/>
                      <a:pt x="160" y="11592"/>
                      <a:pt x="167" y="11606"/>
                    </a:cubicBezTo>
                    <a:cubicBezTo>
                      <a:pt x="173" y="11619"/>
                      <a:pt x="189" y="11640"/>
                      <a:pt x="202" y="11642"/>
                    </a:cubicBezTo>
                    <a:cubicBezTo>
                      <a:pt x="216" y="11643"/>
                      <a:pt x="230" y="11618"/>
                      <a:pt x="246" y="11616"/>
                    </a:cubicBezTo>
                    <a:cubicBezTo>
                      <a:pt x="262" y="11614"/>
                      <a:pt x="288" y="11631"/>
                      <a:pt x="299" y="11629"/>
                    </a:cubicBezTo>
                    <a:cubicBezTo>
                      <a:pt x="310" y="11627"/>
                      <a:pt x="306" y="11609"/>
                      <a:pt x="315" y="11603"/>
                    </a:cubicBezTo>
                    <a:cubicBezTo>
                      <a:pt x="323" y="11597"/>
                      <a:pt x="339" y="11591"/>
                      <a:pt x="350" y="11591"/>
                    </a:cubicBezTo>
                    <a:cubicBezTo>
                      <a:pt x="361" y="11590"/>
                      <a:pt x="370" y="11590"/>
                      <a:pt x="383" y="11596"/>
                    </a:cubicBezTo>
                    <a:cubicBezTo>
                      <a:pt x="397" y="11602"/>
                      <a:pt x="424" y="11607"/>
                      <a:pt x="434" y="11626"/>
                    </a:cubicBezTo>
                    <a:cubicBezTo>
                      <a:pt x="445" y="11646"/>
                      <a:pt x="432" y="11696"/>
                      <a:pt x="445" y="11713"/>
                    </a:cubicBezTo>
                    <a:cubicBezTo>
                      <a:pt x="457" y="11730"/>
                      <a:pt x="503" y="11714"/>
                      <a:pt x="514" y="11731"/>
                    </a:cubicBezTo>
                    <a:cubicBezTo>
                      <a:pt x="524" y="11748"/>
                      <a:pt x="508" y="11792"/>
                      <a:pt x="508" y="11815"/>
                    </a:cubicBezTo>
                    <a:cubicBezTo>
                      <a:pt x="508" y="11838"/>
                      <a:pt x="513" y="11851"/>
                      <a:pt x="514" y="11869"/>
                    </a:cubicBezTo>
                    <a:cubicBezTo>
                      <a:pt x="514" y="11887"/>
                      <a:pt x="514" y="11904"/>
                      <a:pt x="514" y="11925"/>
                    </a:cubicBezTo>
                    <a:cubicBezTo>
                      <a:pt x="514" y="11945"/>
                      <a:pt x="523" y="11978"/>
                      <a:pt x="514" y="11991"/>
                    </a:cubicBezTo>
                    <a:cubicBezTo>
                      <a:pt x="504" y="12004"/>
                      <a:pt x="476" y="12000"/>
                      <a:pt x="457" y="12004"/>
                    </a:cubicBezTo>
                    <a:cubicBezTo>
                      <a:pt x="439" y="12007"/>
                      <a:pt x="417" y="12011"/>
                      <a:pt x="399" y="12014"/>
                    </a:cubicBezTo>
                    <a:cubicBezTo>
                      <a:pt x="380" y="12017"/>
                      <a:pt x="360" y="12026"/>
                      <a:pt x="345" y="12027"/>
                    </a:cubicBezTo>
                    <a:cubicBezTo>
                      <a:pt x="331" y="12028"/>
                      <a:pt x="314" y="12013"/>
                      <a:pt x="310" y="12019"/>
                    </a:cubicBezTo>
                    <a:cubicBezTo>
                      <a:pt x="305" y="12025"/>
                      <a:pt x="315" y="12050"/>
                      <a:pt x="317" y="12063"/>
                    </a:cubicBezTo>
                    <a:cubicBezTo>
                      <a:pt x="320" y="12075"/>
                      <a:pt x="322" y="12084"/>
                      <a:pt x="327" y="12096"/>
                    </a:cubicBezTo>
                    <a:cubicBezTo>
                      <a:pt x="332" y="12108"/>
                      <a:pt x="332" y="12128"/>
                      <a:pt x="348" y="12137"/>
                    </a:cubicBezTo>
                    <a:cubicBezTo>
                      <a:pt x="363" y="12145"/>
                      <a:pt x="395" y="12140"/>
                      <a:pt x="419" y="12147"/>
                    </a:cubicBezTo>
                    <a:cubicBezTo>
                      <a:pt x="443" y="12154"/>
                      <a:pt x="470" y="12169"/>
                      <a:pt x="491" y="12175"/>
                    </a:cubicBezTo>
                    <a:cubicBezTo>
                      <a:pt x="511" y="12181"/>
                      <a:pt x="527" y="12185"/>
                      <a:pt x="544" y="12185"/>
                    </a:cubicBezTo>
                    <a:cubicBezTo>
                      <a:pt x="561" y="12185"/>
                      <a:pt x="575" y="12175"/>
                      <a:pt x="595" y="12172"/>
                    </a:cubicBezTo>
                    <a:close/>
                  </a:path>
                </a:pathLst>
              </a:custGeom>
              <a:solidFill>
                <a:srgbClr val="FFFFCC"/>
              </a:solidFill>
              <a:ln w="19050">
                <a:solidFill>
                  <a:srgbClr val="CC0099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ru-RU"/>
              </a:p>
            </p:txBody>
          </p:sp>
          <p:grpSp>
            <p:nvGrpSpPr>
              <p:cNvPr id="4127" name="Group 10"/>
              <p:cNvGrpSpPr>
                <a:grpSpLocks/>
              </p:cNvGrpSpPr>
              <p:nvPr/>
            </p:nvGrpSpPr>
            <p:grpSpPr bwMode="auto">
              <a:xfrm>
                <a:off x="5351" y="1717"/>
                <a:ext cx="3775" cy="5857"/>
                <a:chOff x="6006" y="2446"/>
                <a:chExt cx="3295" cy="5113"/>
              </a:xfrm>
            </p:grpSpPr>
            <p:sp>
              <p:nvSpPr>
                <p:cNvPr id="4135" name="Freeform 11"/>
                <p:cNvSpPr>
                  <a:spLocks/>
                </p:cNvSpPr>
                <p:nvPr/>
              </p:nvSpPr>
              <p:spPr bwMode="auto">
                <a:xfrm>
                  <a:off x="6006" y="2446"/>
                  <a:ext cx="3295" cy="3617"/>
                </a:xfrm>
                <a:custGeom>
                  <a:avLst/>
                  <a:gdLst>
                    <a:gd name="T0" fmla="*/ 1961 w 3295"/>
                    <a:gd name="T1" fmla="*/ 3537 h 3617"/>
                    <a:gd name="T2" fmla="*/ 1804 w 3295"/>
                    <a:gd name="T3" fmla="*/ 3486 h 3617"/>
                    <a:gd name="T4" fmla="*/ 1666 w 3295"/>
                    <a:gd name="T5" fmla="*/ 3399 h 3617"/>
                    <a:gd name="T6" fmla="*/ 1503 w 3295"/>
                    <a:gd name="T7" fmla="*/ 3334 h 3617"/>
                    <a:gd name="T8" fmla="*/ 1350 w 3295"/>
                    <a:gd name="T9" fmla="*/ 3200 h 3617"/>
                    <a:gd name="T10" fmla="*/ 927 w 3295"/>
                    <a:gd name="T11" fmla="*/ 2954 h 3617"/>
                    <a:gd name="T12" fmla="*/ 591 w 3295"/>
                    <a:gd name="T13" fmla="*/ 2807 h 3617"/>
                    <a:gd name="T14" fmla="*/ 429 w 3295"/>
                    <a:gd name="T15" fmla="*/ 2816 h 3617"/>
                    <a:gd name="T16" fmla="*/ 309 w 3295"/>
                    <a:gd name="T17" fmla="*/ 2900 h 3617"/>
                    <a:gd name="T18" fmla="*/ 33 w 3295"/>
                    <a:gd name="T19" fmla="*/ 2678 h 3617"/>
                    <a:gd name="T20" fmla="*/ 122 w 3295"/>
                    <a:gd name="T21" fmla="*/ 2424 h 3617"/>
                    <a:gd name="T22" fmla="*/ 237 w 3295"/>
                    <a:gd name="T23" fmla="*/ 2267 h 3617"/>
                    <a:gd name="T24" fmla="*/ 336 w 3295"/>
                    <a:gd name="T25" fmla="*/ 2117 h 3617"/>
                    <a:gd name="T26" fmla="*/ 435 w 3295"/>
                    <a:gd name="T27" fmla="*/ 1973 h 3617"/>
                    <a:gd name="T28" fmla="*/ 405 w 3295"/>
                    <a:gd name="T29" fmla="*/ 2060 h 3617"/>
                    <a:gd name="T30" fmla="*/ 588 w 3295"/>
                    <a:gd name="T31" fmla="*/ 2213 h 3617"/>
                    <a:gd name="T32" fmla="*/ 447 w 3295"/>
                    <a:gd name="T33" fmla="*/ 2408 h 3617"/>
                    <a:gd name="T34" fmla="*/ 321 w 3295"/>
                    <a:gd name="T35" fmla="*/ 2624 h 3617"/>
                    <a:gd name="T36" fmla="*/ 396 w 3295"/>
                    <a:gd name="T37" fmla="*/ 2630 h 3617"/>
                    <a:gd name="T38" fmla="*/ 465 w 3295"/>
                    <a:gd name="T39" fmla="*/ 2723 h 3617"/>
                    <a:gd name="T40" fmla="*/ 798 w 3295"/>
                    <a:gd name="T41" fmla="*/ 2894 h 3617"/>
                    <a:gd name="T42" fmla="*/ 1284 w 3295"/>
                    <a:gd name="T43" fmla="*/ 3122 h 3617"/>
                    <a:gd name="T44" fmla="*/ 1365 w 3295"/>
                    <a:gd name="T45" fmla="*/ 2963 h 3617"/>
                    <a:gd name="T46" fmla="*/ 1383 w 3295"/>
                    <a:gd name="T47" fmla="*/ 2693 h 3617"/>
                    <a:gd name="T48" fmla="*/ 1629 w 3295"/>
                    <a:gd name="T49" fmla="*/ 2543 h 3617"/>
                    <a:gd name="T50" fmla="*/ 1572 w 3295"/>
                    <a:gd name="T51" fmla="*/ 2282 h 3617"/>
                    <a:gd name="T52" fmla="*/ 1500 w 3295"/>
                    <a:gd name="T53" fmla="*/ 1988 h 3617"/>
                    <a:gd name="T54" fmla="*/ 1677 w 3295"/>
                    <a:gd name="T55" fmla="*/ 1826 h 3617"/>
                    <a:gd name="T56" fmla="*/ 1842 w 3295"/>
                    <a:gd name="T57" fmla="*/ 1985 h 3617"/>
                    <a:gd name="T58" fmla="*/ 2001 w 3295"/>
                    <a:gd name="T59" fmla="*/ 1814 h 3617"/>
                    <a:gd name="T60" fmla="*/ 2121 w 3295"/>
                    <a:gd name="T61" fmla="*/ 1601 h 3617"/>
                    <a:gd name="T62" fmla="*/ 2163 w 3295"/>
                    <a:gd name="T63" fmla="*/ 1424 h 3617"/>
                    <a:gd name="T64" fmla="*/ 2004 w 3295"/>
                    <a:gd name="T65" fmla="*/ 1139 h 3617"/>
                    <a:gd name="T66" fmla="*/ 2334 w 3295"/>
                    <a:gd name="T67" fmla="*/ 1022 h 3617"/>
                    <a:gd name="T68" fmla="*/ 2439 w 3295"/>
                    <a:gd name="T69" fmla="*/ 794 h 3617"/>
                    <a:gd name="T70" fmla="*/ 2457 w 3295"/>
                    <a:gd name="T71" fmla="*/ 569 h 3617"/>
                    <a:gd name="T72" fmla="*/ 2361 w 3295"/>
                    <a:gd name="T73" fmla="*/ 299 h 3617"/>
                    <a:gd name="T74" fmla="*/ 2202 w 3295"/>
                    <a:gd name="T75" fmla="*/ 86 h 3617"/>
                    <a:gd name="T76" fmla="*/ 2286 w 3295"/>
                    <a:gd name="T77" fmla="*/ 71 h 3617"/>
                    <a:gd name="T78" fmla="*/ 2559 w 3295"/>
                    <a:gd name="T79" fmla="*/ 197 h 3617"/>
                    <a:gd name="T80" fmla="*/ 2710 w 3295"/>
                    <a:gd name="T81" fmla="*/ 328 h 3617"/>
                    <a:gd name="T82" fmla="*/ 2925 w 3295"/>
                    <a:gd name="T83" fmla="*/ 551 h 3617"/>
                    <a:gd name="T84" fmla="*/ 3032 w 3295"/>
                    <a:gd name="T85" fmla="*/ 680 h 3617"/>
                    <a:gd name="T86" fmla="*/ 2880 w 3295"/>
                    <a:gd name="T87" fmla="*/ 740 h 3617"/>
                    <a:gd name="T88" fmla="*/ 2895 w 3295"/>
                    <a:gd name="T89" fmla="*/ 902 h 3617"/>
                    <a:gd name="T90" fmla="*/ 3198 w 3295"/>
                    <a:gd name="T91" fmla="*/ 917 h 3617"/>
                    <a:gd name="T92" fmla="*/ 3268 w 3295"/>
                    <a:gd name="T93" fmla="*/ 1211 h 3617"/>
                    <a:gd name="T94" fmla="*/ 3128 w 3295"/>
                    <a:gd name="T95" fmla="*/ 1455 h 3617"/>
                    <a:gd name="T96" fmla="*/ 2950 w 3295"/>
                    <a:gd name="T97" fmla="*/ 1768 h 3617"/>
                    <a:gd name="T98" fmla="*/ 2941 w 3295"/>
                    <a:gd name="T99" fmla="*/ 1915 h 3617"/>
                    <a:gd name="T100" fmla="*/ 2766 w 3295"/>
                    <a:gd name="T101" fmla="*/ 2174 h 3617"/>
                    <a:gd name="T102" fmla="*/ 2577 w 3295"/>
                    <a:gd name="T103" fmla="*/ 2267 h 3617"/>
                    <a:gd name="T104" fmla="*/ 2490 w 3295"/>
                    <a:gd name="T105" fmla="*/ 2393 h 3617"/>
                    <a:gd name="T106" fmla="*/ 2457 w 3295"/>
                    <a:gd name="T107" fmla="*/ 2462 h 3617"/>
                    <a:gd name="T108" fmla="*/ 2361 w 3295"/>
                    <a:gd name="T109" fmla="*/ 2423 h 3617"/>
                    <a:gd name="T110" fmla="*/ 2281 w 3295"/>
                    <a:gd name="T111" fmla="*/ 2636 h 3617"/>
                    <a:gd name="T112" fmla="*/ 2231 w 3295"/>
                    <a:gd name="T113" fmla="*/ 2772 h 3617"/>
                    <a:gd name="T114" fmla="*/ 2144 w 3295"/>
                    <a:gd name="T115" fmla="*/ 2937 h 3617"/>
                    <a:gd name="T116" fmla="*/ 2199 w 3295"/>
                    <a:gd name="T117" fmla="*/ 3116 h 3617"/>
                    <a:gd name="T118" fmla="*/ 2163 w 3295"/>
                    <a:gd name="T119" fmla="*/ 3449 h 3617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3295"/>
                    <a:gd name="T181" fmla="*/ 0 h 3617"/>
                    <a:gd name="T182" fmla="*/ 3295 w 3295"/>
                    <a:gd name="T183" fmla="*/ 3617 h 3617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3295" h="3617">
                      <a:moveTo>
                        <a:pt x="2120" y="3542"/>
                      </a:moveTo>
                      <a:cubicBezTo>
                        <a:pt x="2102" y="3567"/>
                        <a:pt x="2075" y="3588"/>
                        <a:pt x="2055" y="3599"/>
                      </a:cubicBezTo>
                      <a:cubicBezTo>
                        <a:pt x="2035" y="3610"/>
                        <a:pt x="2013" y="3617"/>
                        <a:pt x="1997" y="3607"/>
                      </a:cubicBezTo>
                      <a:cubicBezTo>
                        <a:pt x="1981" y="3597"/>
                        <a:pt x="1974" y="3558"/>
                        <a:pt x="1961" y="3537"/>
                      </a:cubicBezTo>
                      <a:cubicBezTo>
                        <a:pt x="1951" y="3516"/>
                        <a:pt x="1942" y="3493"/>
                        <a:pt x="1931" y="3480"/>
                      </a:cubicBezTo>
                      <a:cubicBezTo>
                        <a:pt x="1921" y="3469"/>
                        <a:pt x="1912" y="3465"/>
                        <a:pt x="1900" y="3465"/>
                      </a:cubicBezTo>
                      <a:cubicBezTo>
                        <a:pt x="1887" y="3465"/>
                        <a:pt x="1870" y="3482"/>
                        <a:pt x="1855" y="3486"/>
                      </a:cubicBezTo>
                      <a:cubicBezTo>
                        <a:pt x="1838" y="3489"/>
                        <a:pt x="1815" y="3486"/>
                        <a:pt x="1804" y="3486"/>
                      </a:cubicBezTo>
                      <a:cubicBezTo>
                        <a:pt x="1791" y="3484"/>
                        <a:pt x="1791" y="3489"/>
                        <a:pt x="1783" y="3480"/>
                      </a:cubicBezTo>
                      <a:cubicBezTo>
                        <a:pt x="1775" y="3474"/>
                        <a:pt x="1766" y="3450"/>
                        <a:pt x="1753" y="3440"/>
                      </a:cubicBezTo>
                      <a:cubicBezTo>
                        <a:pt x="1740" y="3430"/>
                        <a:pt x="1722" y="3426"/>
                        <a:pt x="1707" y="3419"/>
                      </a:cubicBezTo>
                      <a:cubicBezTo>
                        <a:pt x="1692" y="3412"/>
                        <a:pt x="1685" y="3405"/>
                        <a:pt x="1666" y="3399"/>
                      </a:cubicBezTo>
                      <a:cubicBezTo>
                        <a:pt x="1647" y="3393"/>
                        <a:pt x="1612" y="3391"/>
                        <a:pt x="1594" y="3385"/>
                      </a:cubicBezTo>
                      <a:cubicBezTo>
                        <a:pt x="1576" y="3379"/>
                        <a:pt x="1575" y="3365"/>
                        <a:pt x="1558" y="3363"/>
                      </a:cubicBezTo>
                      <a:cubicBezTo>
                        <a:pt x="1543" y="3361"/>
                        <a:pt x="1511" y="3378"/>
                        <a:pt x="1503" y="3374"/>
                      </a:cubicBezTo>
                      <a:cubicBezTo>
                        <a:pt x="1492" y="3368"/>
                        <a:pt x="1505" y="3349"/>
                        <a:pt x="1503" y="3334"/>
                      </a:cubicBezTo>
                      <a:cubicBezTo>
                        <a:pt x="1499" y="3317"/>
                        <a:pt x="1495" y="3293"/>
                        <a:pt x="1482" y="3281"/>
                      </a:cubicBezTo>
                      <a:cubicBezTo>
                        <a:pt x="1471" y="3268"/>
                        <a:pt x="1446" y="3264"/>
                        <a:pt x="1431" y="3255"/>
                      </a:cubicBezTo>
                      <a:cubicBezTo>
                        <a:pt x="1416" y="3249"/>
                        <a:pt x="1403" y="3251"/>
                        <a:pt x="1391" y="3240"/>
                      </a:cubicBezTo>
                      <a:cubicBezTo>
                        <a:pt x="1378" y="3232"/>
                        <a:pt x="1365" y="3215"/>
                        <a:pt x="1350" y="3200"/>
                      </a:cubicBezTo>
                      <a:cubicBezTo>
                        <a:pt x="1335" y="3185"/>
                        <a:pt x="1316" y="3161"/>
                        <a:pt x="1299" y="3149"/>
                      </a:cubicBezTo>
                      <a:cubicBezTo>
                        <a:pt x="1282" y="3137"/>
                        <a:pt x="1281" y="3150"/>
                        <a:pt x="1245" y="3128"/>
                      </a:cubicBezTo>
                      <a:cubicBezTo>
                        <a:pt x="1209" y="3106"/>
                        <a:pt x="1136" y="3049"/>
                        <a:pt x="1083" y="3020"/>
                      </a:cubicBezTo>
                      <a:cubicBezTo>
                        <a:pt x="1030" y="2991"/>
                        <a:pt x="974" y="2975"/>
                        <a:pt x="927" y="2954"/>
                      </a:cubicBezTo>
                      <a:cubicBezTo>
                        <a:pt x="880" y="2933"/>
                        <a:pt x="844" y="2911"/>
                        <a:pt x="804" y="2894"/>
                      </a:cubicBezTo>
                      <a:cubicBezTo>
                        <a:pt x="764" y="2877"/>
                        <a:pt x="715" y="2862"/>
                        <a:pt x="684" y="2852"/>
                      </a:cubicBezTo>
                      <a:cubicBezTo>
                        <a:pt x="653" y="2842"/>
                        <a:pt x="634" y="2844"/>
                        <a:pt x="618" y="2837"/>
                      </a:cubicBezTo>
                      <a:cubicBezTo>
                        <a:pt x="602" y="2830"/>
                        <a:pt x="611" y="2822"/>
                        <a:pt x="591" y="2807"/>
                      </a:cubicBezTo>
                      <a:cubicBezTo>
                        <a:pt x="571" y="2792"/>
                        <a:pt x="521" y="2753"/>
                        <a:pt x="498" y="2744"/>
                      </a:cubicBezTo>
                      <a:cubicBezTo>
                        <a:pt x="475" y="2735"/>
                        <a:pt x="462" y="2742"/>
                        <a:pt x="450" y="2750"/>
                      </a:cubicBezTo>
                      <a:cubicBezTo>
                        <a:pt x="438" y="2758"/>
                        <a:pt x="429" y="2778"/>
                        <a:pt x="426" y="2789"/>
                      </a:cubicBezTo>
                      <a:cubicBezTo>
                        <a:pt x="423" y="2800"/>
                        <a:pt x="431" y="2806"/>
                        <a:pt x="429" y="2816"/>
                      </a:cubicBezTo>
                      <a:cubicBezTo>
                        <a:pt x="427" y="2826"/>
                        <a:pt x="421" y="2842"/>
                        <a:pt x="414" y="2849"/>
                      </a:cubicBezTo>
                      <a:cubicBezTo>
                        <a:pt x="407" y="2856"/>
                        <a:pt x="394" y="2858"/>
                        <a:pt x="384" y="2861"/>
                      </a:cubicBezTo>
                      <a:cubicBezTo>
                        <a:pt x="374" y="2864"/>
                        <a:pt x="366" y="2858"/>
                        <a:pt x="354" y="2864"/>
                      </a:cubicBezTo>
                      <a:cubicBezTo>
                        <a:pt x="342" y="2870"/>
                        <a:pt x="325" y="2900"/>
                        <a:pt x="309" y="2900"/>
                      </a:cubicBezTo>
                      <a:cubicBezTo>
                        <a:pt x="293" y="2900"/>
                        <a:pt x="274" y="2877"/>
                        <a:pt x="258" y="2864"/>
                      </a:cubicBezTo>
                      <a:cubicBezTo>
                        <a:pt x="242" y="2851"/>
                        <a:pt x="231" y="2834"/>
                        <a:pt x="210" y="2819"/>
                      </a:cubicBezTo>
                      <a:cubicBezTo>
                        <a:pt x="189" y="2804"/>
                        <a:pt x="158" y="2794"/>
                        <a:pt x="129" y="2771"/>
                      </a:cubicBezTo>
                      <a:cubicBezTo>
                        <a:pt x="100" y="2748"/>
                        <a:pt x="54" y="2700"/>
                        <a:pt x="33" y="2678"/>
                      </a:cubicBezTo>
                      <a:cubicBezTo>
                        <a:pt x="12" y="2656"/>
                        <a:pt x="0" y="2655"/>
                        <a:pt x="0" y="2636"/>
                      </a:cubicBezTo>
                      <a:cubicBezTo>
                        <a:pt x="0" y="2617"/>
                        <a:pt x="21" y="2585"/>
                        <a:pt x="33" y="2561"/>
                      </a:cubicBezTo>
                      <a:cubicBezTo>
                        <a:pt x="45" y="2537"/>
                        <a:pt x="58" y="2515"/>
                        <a:pt x="73" y="2492"/>
                      </a:cubicBezTo>
                      <a:cubicBezTo>
                        <a:pt x="88" y="2469"/>
                        <a:pt x="114" y="2441"/>
                        <a:pt x="122" y="2424"/>
                      </a:cubicBezTo>
                      <a:cubicBezTo>
                        <a:pt x="133" y="2409"/>
                        <a:pt x="124" y="2403"/>
                        <a:pt x="133" y="2392"/>
                      </a:cubicBezTo>
                      <a:cubicBezTo>
                        <a:pt x="141" y="2381"/>
                        <a:pt x="158" y="2369"/>
                        <a:pt x="171" y="2356"/>
                      </a:cubicBezTo>
                      <a:cubicBezTo>
                        <a:pt x="186" y="2343"/>
                        <a:pt x="203" y="2324"/>
                        <a:pt x="215" y="2309"/>
                      </a:cubicBezTo>
                      <a:cubicBezTo>
                        <a:pt x="226" y="2294"/>
                        <a:pt x="235" y="2282"/>
                        <a:pt x="237" y="2267"/>
                      </a:cubicBezTo>
                      <a:cubicBezTo>
                        <a:pt x="241" y="2252"/>
                        <a:pt x="232" y="2231"/>
                        <a:pt x="237" y="2220"/>
                      </a:cubicBezTo>
                      <a:cubicBezTo>
                        <a:pt x="241" y="2212"/>
                        <a:pt x="256" y="2214"/>
                        <a:pt x="266" y="2207"/>
                      </a:cubicBezTo>
                      <a:cubicBezTo>
                        <a:pt x="276" y="2200"/>
                        <a:pt x="285" y="2192"/>
                        <a:pt x="297" y="2177"/>
                      </a:cubicBezTo>
                      <a:cubicBezTo>
                        <a:pt x="309" y="2162"/>
                        <a:pt x="322" y="2135"/>
                        <a:pt x="336" y="2117"/>
                      </a:cubicBezTo>
                      <a:cubicBezTo>
                        <a:pt x="350" y="2099"/>
                        <a:pt x="373" y="2085"/>
                        <a:pt x="379" y="2068"/>
                      </a:cubicBezTo>
                      <a:cubicBezTo>
                        <a:pt x="385" y="2051"/>
                        <a:pt x="369" y="2023"/>
                        <a:pt x="375" y="2012"/>
                      </a:cubicBezTo>
                      <a:cubicBezTo>
                        <a:pt x="381" y="2001"/>
                        <a:pt x="407" y="2008"/>
                        <a:pt x="417" y="2002"/>
                      </a:cubicBezTo>
                      <a:cubicBezTo>
                        <a:pt x="427" y="1996"/>
                        <a:pt x="426" y="1978"/>
                        <a:pt x="435" y="1973"/>
                      </a:cubicBezTo>
                      <a:cubicBezTo>
                        <a:pt x="444" y="1968"/>
                        <a:pt x="471" y="1967"/>
                        <a:pt x="474" y="1970"/>
                      </a:cubicBezTo>
                      <a:cubicBezTo>
                        <a:pt x="477" y="1973"/>
                        <a:pt x="462" y="1983"/>
                        <a:pt x="453" y="1991"/>
                      </a:cubicBezTo>
                      <a:cubicBezTo>
                        <a:pt x="444" y="1999"/>
                        <a:pt x="425" y="2010"/>
                        <a:pt x="417" y="2021"/>
                      </a:cubicBezTo>
                      <a:cubicBezTo>
                        <a:pt x="409" y="2032"/>
                        <a:pt x="403" y="2046"/>
                        <a:pt x="405" y="2060"/>
                      </a:cubicBezTo>
                      <a:cubicBezTo>
                        <a:pt x="407" y="2074"/>
                        <a:pt x="418" y="2090"/>
                        <a:pt x="432" y="2105"/>
                      </a:cubicBezTo>
                      <a:cubicBezTo>
                        <a:pt x="446" y="2120"/>
                        <a:pt x="466" y="2139"/>
                        <a:pt x="486" y="2153"/>
                      </a:cubicBezTo>
                      <a:cubicBezTo>
                        <a:pt x="506" y="2167"/>
                        <a:pt x="535" y="2182"/>
                        <a:pt x="552" y="2192"/>
                      </a:cubicBezTo>
                      <a:cubicBezTo>
                        <a:pt x="569" y="2202"/>
                        <a:pt x="587" y="2204"/>
                        <a:pt x="588" y="2213"/>
                      </a:cubicBezTo>
                      <a:cubicBezTo>
                        <a:pt x="589" y="2222"/>
                        <a:pt x="567" y="2234"/>
                        <a:pt x="558" y="2246"/>
                      </a:cubicBezTo>
                      <a:cubicBezTo>
                        <a:pt x="549" y="2258"/>
                        <a:pt x="542" y="2269"/>
                        <a:pt x="531" y="2288"/>
                      </a:cubicBezTo>
                      <a:cubicBezTo>
                        <a:pt x="520" y="2307"/>
                        <a:pt x="506" y="2337"/>
                        <a:pt x="492" y="2357"/>
                      </a:cubicBezTo>
                      <a:cubicBezTo>
                        <a:pt x="478" y="2377"/>
                        <a:pt x="460" y="2390"/>
                        <a:pt x="447" y="2408"/>
                      </a:cubicBezTo>
                      <a:cubicBezTo>
                        <a:pt x="434" y="2426"/>
                        <a:pt x="423" y="2448"/>
                        <a:pt x="411" y="2468"/>
                      </a:cubicBezTo>
                      <a:cubicBezTo>
                        <a:pt x="399" y="2488"/>
                        <a:pt x="388" y="2509"/>
                        <a:pt x="375" y="2528"/>
                      </a:cubicBezTo>
                      <a:cubicBezTo>
                        <a:pt x="362" y="2547"/>
                        <a:pt x="339" y="2566"/>
                        <a:pt x="330" y="2582"/>
                      </a:cubicBezTo>
                      <a:cubicBezTo>
                        <a:pt x="321" y="2598"/>
                        <a:pt x="319" y="2613"/>
                        <a:pt x="321" y="2624"/>
                      </a:cubicBezTo>
                      <a:cubicBezTo>
                        <a:pt x="323" y="2635"/>
                        <a:pt x="334" y="2645"/>
                        <a:pt x="342" y="2648"/>
                      </a:cubicBezTo>
                      <a:cubicBezTo>
                        <a:pt x="350" y="2651"/>
                        <a:pt x="366" y="2646"/>
                        <a:pt x="372" y="2642"/>
                      </a:cubicBezTo>
                      <a:cubicBezTo>
                        <a:pt x="378" y="2638"/>
                        <a:pt x="377" y="2626"/>
                        <a:pt x="381" y="2624"/>
                      </a:cubicBezTo>
                      <a:cubicBezTo>
                        <a:pt x="385" y="2622"/>
                        <a:pt x="396" y="2625"/>
                        <a:pt x="396" y="2630"/>
                      </a:cubicBezTo>
                      <a:cubicBezTo>
                        <a:pt x="396" y="2635"/>
                        <a:pt x="381" y="2649"/>
                        <a:pt x="381" y="2657"/>
                      </a:cubicBezTo>
                      <a:cubicBezTo>
                        <a:pt x="381" y="2665"/>
                        <a:pt x="387" y="2675"/>
                        <a:pt x="396" y="2681"/>
                      </a:cubicBezTo>
                      <a:cubicBezTo>
                        <a:pt x="405" y="2687"/>
                        <a:pt x="424" y="2689"/>
                        <a:pt x="435" y="2696"/>
                      </a:cubicBezTo>
                      <a:cubicBezTo>
                        <a:pt x="446" y="2703"/>
                        <a:pt x="454" y="2714"/>
                        <a:pt x="465" y="2723"/>
                      </a:cubicBezTo>
                      <a:cubicBezTo>
                        <a:pt x="476" y="2732"/>
                        <a:pt x="487" y="2737"/>
                        <a:pt x="504" y="2747"/>
                      </a:cubicBezTo>
                      <a:cubicBezTo>
                        <a:pt x="521" y="2757"/>
                        <a:pt x="540" y="2768"/>
                        <a:pt x="570" y="2786"/>
                      </a:cubicBezTo>
                      <a:cubicBezTo>
                        <a:pt x="600" y="2804"/>
                        <a:pt x="649" y="2834"/>
                        <a:pt x="687" y="2852"/>
                      </a:cubicBezTo>
                      <a:cubicBezTo>
                        <a:pt x="725" y="2870"/>
                        <a:pt x="759" y="2878"/>
                        <a:pt x="798" y="2894"/>
                      </a:cubicBezTo>
                      <a:cubicBezTo>
                        <a:pt x="837" y="2910"/>
                        <a:pt x="874" y="2930"/>
                        <a:pt x="921" y="2951"/>
                      </a:cubicBezTo>
                      <a:cubicBezTo>
                        <a:pt x="968" y="2972"/>
                        <a:pt x="1029" y="2991"/>
                        <a:pt x="1083" y="3020"/>
                      </a:cubicBezTo>
                      <a:cubicBezTo>
                        <a:pt x="1137" y="3049"/>
                        <a:pt x="1212" y="3108"/>
                        <a:pt x="1245" y="3125"/>
                      </a:cubicBezTo>
                      <a:cubicBezTo>
                        <a:pt x="1278" y="3142"/>
                        <a:pt x="1275" y="3133"/>
                        <a:pt x="1284" y="3122"/>
                      </a:cubicBezTo>
                      <a:cubicBezTo>
                        <a:pt x="1293" y="3111"/>
                        <a:pt x="1296" y="3074"/>
                        <a:pt x="1299" y="3059"/>
                      </a:cubicBezTo>
                      <a:cubicBezTo>
                        <a:pt x="1302" y="3044"/>
                        <a:pt x="1300" y="3040"/>
                        <a:pt x="1305" y="3032"/>
                      </a:cubicBezTo>
                      <a:cubicBezTo>
                        <a:pt x="1310" y="3024"/>
                        <a:pt x="1319" y="3022"/>
                        <a:pt x="1329" y="3011"/>
                      </a:cubicBezTo>
                      <a:cubicBezTo>
                        <a:pt x="1339" y="3000"/>
                        <a:pt x="1359" y="2979"/>
                        <a:pt x="1365" y="2963"/>
                      </a:cubicBezTo>
                      <a:cubicBezTo>
                        <a:pt x="1371" y="2947"/>
                        <a:pt x="1368" y="2937"/>
                        <a:pt x="1365" y="2915"/>
                      </a:cubicBezTo>
                      <a:cubicBezTo>
                        <a:pt x="1362" y="2893"/>
                        <a:pt x="1351" y="2863"/>
                        <a:pt x="1344" y="2831"/>
                      </a:cubicBezTo>
                      <a:cubicBezTo>
                        <a:pt x="1337" y="2799"/>
                        <a:pt x="1317" y="2746"/>
                        <a:pt x="1323" y="2723"/>
                      </a:cubicBezTo>
                      <a:cubicBezTo>
                        <a:pt x="1329" y="2700"/>
                        <a:pt x="1373" y="2711"/>
                        <a:pt x="1383" y="2693"/>
                      </a:cubicBezTo>
                      <a:cubicBezTo>
                        <a:pt x="1393" y="2675"/>
                        <a:pt x="1368" y="2630"/>
                        <a:pt x="1383" y="2615"/>
                      </a:cubicBezTo>
                      <a:cubicBezTo>
                        <a:pt x="1398" y="2600"/>
                        <a:pt x="1446" y="2606"/>
                        <a:pt x="1470" y="2600"/>
                      </a:cubicBezTo>
                      <a:cubicBezTo>
                        <a:pt x="1494" y="2594"/>
                        <a:pt x="1501" y="2588"/>
                        <a:pt x="1527" y="2579"/>
                      </a:cubicBezTo>
                      <a:cubicBezTo>
                        <a:pt x="1553" y="2570"/>
                        <a:pt x="1613" y="2556"/>
                        <a:pt x="1629" y="2543"/>
                      </a:cubicBezTo>
                      <a:cubicBezTo>
                        <a:pt x="1645" y="2530"/>
                        <a:pt x="1627" y="2514"/>
                        <a:pt x="1623" y="2498"/>
                      </a:cubicBezTo>
                      <a:cubicBezTo>
                        <a:pt x="1619" y="2482"/>
                        <a:pt x="1611" y="2467"/>
                        <a:pt x="1605" y="2444"/>
                      </a:cubicBezTo>
                      <a:cubicBezTo>
                        <a:pt x="1599" y="2421"/>
                        <a:pt x="1595" y="2387"/>
                        <a:pt x="1590" y="2360"/>
                      </a:cubicBezTo>
                      <a:cubicBezTo>
                        <a:pt x="1585" y="2333"/>
                        <a:pt x="1582" y="2311"/>
                        <a:pt x="1572" y="2282"/>
                      </a:cubicBezTo>
                      <a:cubicBezTo>
                        <a:pt x="1562" y="2253"/>
                        <a:pt x="1538" y="2212"/>
                        <a:pt x="1527" y="2183"/>
                      </a:cubicBezTo>
                      <a:cubicBezTo>
                        <a:pt x="1516" y="2154"/>
                        <a:pt x="1512" y="2134"/>
                        <a:pt x="1503" y="2108"/>
                      </a:cubicBezTo>
                      <a:cubicBezTo>
                        <a:pt x="1494" y="2082"/>
                        <a:pt x="1470" y="2050"/>
                        <a:pt x="1470" y="2030"/>
                      </a:cubicBezTo>
                      <a:cubicBezTo>
                        <a:pt x="1470" y="2010"/>
                        <a:pt x="1488" y="2005"/>
                        <a:pt x="1500" y="1988"/>
                      </a:cubicBezTo>
                      <a:cubicBezTo>
                        <a:pt x="1512" y="1971"/>
                        <a:pt x="1525" y="1942"/>
                        <a:pt x="1545" y="1928"/>
                      </a:cubicBezTo>
                      <a:cubicBezTo>
                        <a:pt x="1565" y="1914"/>
                        <a:pt x="1604" y="1918"/>
                        <a:pt x="1620" y="1904"/>
                      </a:cubicBezTo>
                      <a:cubicBezTo>
                        <a:pt x="1636" y="1890"/>
                        <a:pt x="1629" y="1860"/>
                        <a:pt x="1638" y="1847"/>
                      </a:cubicBezTo>
                      <a:cubicBezTo>
                        <a:pt x="1647" y="1834"/>
                        <a:pt x="1668" y="1826"/>
                        <a:pt x="1677" y="1826"/>
                      </a:cubicBezTo>
                      <a:cubicBezTo>
                        <a:pt x="1686" y="1826"/>
                        <a:pt x="1687" y="1837"/>
                        <a:pt x="1690" y="1849"/>
                      </a:cubicBezTo>
                      <a:cubicBezTo>
                        <a:pt x="1693" y="1861"/>
                        <a:pt x="1691" y="1882"/>
                        <a:pt x="1696" y="1896"/>
                      </a:cubicBezTo>
                      <a:cubicBezTo>
                        <a:pt x="1701" y="1910"/>
                        <a:pt x="1698" y="1919"/>
                        <a:pt x="1722" y="1934"/>
                      </a:cubicBezTo>
                      <a:cubicBezTo>
                        <a:pt x="1746" y="1949"/>
                        <a:pt x="1804" y="1974"/>
                        <a:pt x="1842" y="1985"/>
                      </a:cubicBezTo>
                      <a:cubicBezTo>
                        <a:pt x="1880" y="1996"/>
                        <a:pt x="1921" y="2002"/>
                        <a:pt x="1950" y="2003"/>
                      </a:cubicBezTo>
                      <a:cubicBezTo>
                        <a:pt x="1979" y="2004"/>
                        <a:pt x="2005" y="2008"/>
                        <a:pt x="2019" y="1994"/>
                      </a:cubicBezTo>
                      <a:cubicBezTo>
                        <a:pt x="2033" y="1980"/>
                        <a:pt x="2037" y="1949"/>
                        <a:pt x="2034" y="1919"/>
                      </a:cubicBezTo>
                      <a:cubicBezTo>
                        <a:pt x="2031" y="1889"/>
                        <a:pt x="2012" y="1848"/>
                        <a:pt x="2001" y="1814"/>
                      </a:cubicBezTo>
                      <a:cubicBezTo>
                        <a:pt x="1990" y="1780"/>
                        <a:pt x="1968" y="1734"/>
                        <a:pt x="1965" y="1712"/>
                      </a:cubicBezTo>
                      <a:cubicBezTo>
                        <a:pt x="1962" y="1690"/>
                        <a:pt x="1974" y="1695"/>
                        <a:pt x="1986" y="1685"/>
                      </a:cubicBezTo>
                      <a:cubicBezTo>
                        <a:pt x="1998" y="1675"/>
                        <a:pt x="2018" y="1666"/>
                        <a:pt x="2040" y="1652"/>
                      </a:cubicBezTo>
                      <a:cubicBezTo>
                        <a:pt x="2062" y="1638"/>
                        <a:pt x="2098" y="1616"/>
                        <a:pt x="2121" y="1601"/>
                      </a:cubicBezTo>
                      <a:cubicBezTo>
                        <a:pt x="2144" y="1586"/>
                        <a:pt x="2160" y="1575"/>
                        <a:pt x="2175" y="1559"/>
                      </a:cubicBezTo>
                      <a:cubicBezTo>
                        <a:pt x="2190" y="1543"/>
                        <a:pt x="2207" y="1519"/>
                        <a:pt x="2211" y="1502"/>
                      </a:cubicBezTo>
                      <a:cubicBezTo>
                        <a:pt x="2215" y="1485"/>
                        <a:pt x="2210" y="1470"/>
                        <a:pt x="2202" y="1457"/>
                      </a:cubicBezTo>
                      <a:cubicBezTo>
                        <a:pt x="2194" y="1444"/>
                        <a:pt x="2175" y="1439"/>
                        <a:pt x="2163" y="1424"/>
                      </a:cubicBezTo>
                      <a:cubicBezTo>
                        <a:pt x="2151" y="1409"/>
                        <a:pt x="2142" y="1391"/>
                        <a:pt x="2127" y="1367"/>
                      </a:cubicBezTo>
                      <a:cubicBezTo>
                        <a:pt x="2112" y="1343"/>
                        <a:pt x="2090" y="1305"/>
                        <a:pt x="2073" y="1277"/>
                      </a:cubicBezTo>
                      <a:cubicBezTo>
                        <a:pt x="2056" y="1249"/>
                        <a:pt x="2033" y="1222"/>
                        <a:pt x="2022" y="1199"/>
                      </a:cubicBezTo>
                      <a:cubicBezTo>
                        <a:pt x="2011" y="1176"/>
                        <a:pt x="2000" y="1154"/>
                        <a:pt x="2004" y="1139"/>
                      </a:cubicBezTo>
                      <a:cubicBezTo>
                        <a:pt x="2008" y="1124"/>
                        <a:pt x="2022" y="1119"/>
                        <a:pt x="2043" y="1109"/>
                      </a:cubicBezTo>
                      <a:cubicBezTo>
                        <a:pt x="2064" y="1099"/>
                        <a:pt x="2102" y="1087"/>
                        <a:pt x="2133" y="1079"/>
                      </a:cubicBezTo>
                      <a:cubicBezTo>
                        <a:pt x="2164" y="1071"/>
                        <a:pt x="2196" y="1070"/>
                        <a:pt x="2229" y="1061"/>
                      </a:cubicBezTo>
                      <a:cubicBezTo>
                        <a:pt x="2262" y="1052"/>
                        <a:pt x="2306" y="1035"/>
                        <a:pt x="2334" y="1022"/>
                      </a:cubicBezTo>
                      <a:cubicBezTo>
                        <a:pt x="2362" y="1009"/>
                        <a:pt x="2378" y="998"/>
                        <a:pt x="2394" y="983"/>
                      </a:cubicBezTo>
                      <a:cubicBezTo>
                        <a:pt x="2410" y="968"/>
                        <a:pt x="2425" y="949"/>
                        <a:pt x="2433" y="932"/>
                      </a:cubicBezTo>
                      <a:cubicBezTo>
                        <a:pt x="2441" y="915"/>
                        <a:pt x="2441" y="901"/>
                        <a:pt x="2442" y="878"/>
                      </a:cubicBezTo>
                      <a:cubicBezTo>
                        <a:pt x="2443" y="855"/>
                        <a:pt x="2434" y="813"/>
                        <a:pt x="2439" y="794"/>
                      </a:cubicBezTo>
                      <a:cubicBezTo>
                        <a:pt x="2444" y="775"/>
                        <a:pt x="2465" y="775"/>
                        <a:pt x="2472" y="761"/>
                      </a:cubicBezTo>
                      <a:cubicBezTo>
                        <a:pt x="2479" y="747"/>
                        <a:pt x="2484" y="729"/>
                        <a:pt x="2481" y="710"/>
                      </a:cubicBezTo>
                      <a:cubicBezTo>
                        <a:pt x="2478" y="691"/>
                        <a:pt x="2455" y="670"/>
                        <a:pt x="2451" y="647"/>
                      </a:cubicBezTo>
                      <a:cubicBezTo>
                        <a:pt x="2447" y="624"/>
                        <a:pt x="2456" y="594"/>
                        <a:pt x="2457" y="569"/>
                      </a:cubicBezTo>
                      <a:cubicBezTo>
                        <a:pt x="2458" y="544"/>
                        <a:pt x="2459" y="522"/>
                        <a:pt x="2457" y="497"/>
                      </a:cubicBezTo>
                      <a:cubicBezTo>
                        <a:pt x="2455" y="472"/>
                        <a:pt x="2451" y="443"/>
                        <a:pt x="2442" y="419"/>
                      </a:cubicBezTo>
                      <a:cubicBezTo>
                        <a:pt x="2433" y="395"/>
                        <a:pt x="2416" y="373"/>
                        <a:pt x="2403" y="353"/>
                      </a:cubicBezTo>
                      <a:cubicBezTo>
                        <a:pt x="2390" y="333"/>
                        <a:pt x="2373" y="308"/>
                        <a:pt x="2361" y="299"/>
                      </a:cubicBezTo>
                      <a:cubicBezTo>
                        <a:pt x="2349" y="290"/>
                        <a:pt x="2336" y="296"/>
                        <a:pt x="2328" y="299"/>
                      </a:cubicBezTo>
                      <a:cubicBezTo>
                        <a:pt x="2320" y="302"/>
                        <a:pt x="2327" y="338"/>
                        <a:pt x="2313" y="314"/>
                      </a:cubicBezTo>
                      <a:cubicBezTo>
                        <a:pt x="2299" y="290"/>
                        <a:pt x="2259" y="190"/>
                        <a:pt x="2241" y="152"/>
                      </a:cubicBezTo>
                      <a:cubicBezTo>
                        <a:pt x="2223" y="114"/>
                        <a:pt x="2211" y="105"/>
                        <a:pt x="2202" y="86"/>
                      </a:cubicBezTo>
                      <a:cubicBezTo>
                        <a:pt x="2193" y="67"/>
                        <a:pt x="2183" y="49"/>
                        <a:pt x="2184" y="35"/>
                      </a:cubicBezTo>
                      <a:cubicBezTo>
                        <a:pt x="2185" y="21"/>
                        <a:pt x="2199" y="0"/>
                        <a:pt x="2208" y="2"/>
                      </a:cubicBezTo>
                      <a:cubicBezTo>
                        <a:pt x="2217" y="4"/>
                        <a:pt x="2228" y="36"/>
                        <a:pt x="2241" y="47"/>
                      </a:cubicBezTo>
                      <a:cubicBezTo>
                        <a:pt x="2254" y="58"/>
                        <a:pt x="2269" y="65"/>
                        <a:pt x="2286" y="71"/>
                      </a:cubicBezTo>
                      <a:cubicBezTo>
                        <a:pt x="2303" y="77"/>
                        <a:pt x="2321" y="67"/>
                        <a:pt x="2343" y="86"/>
                      </a:cubicBezTo>
                      <a:cubicBezTo>
                        <a:pt x="2365" y="105"/>
                        <a:pt x="2395" y="166"/>
                        <a:pt x="2418" y="185"/>
                      </a:cubicBezTo>
                      <a:cubicBezTo>
                        <a:pt x="2441" y="204"/>
                        <a:pt x="2458" y="201"/>
                        <a:pt x="2481" y="203"/>
                      </a:cubicBezTo>
                      <a:cubicBezTo>
                        <a:pt x="2504" y="205"/>
                        <a:pt x="2537" y="196"/>
                        <a:pt x="2559" y="197"/>
                      </a:cubicBezTo>
                      <a:cubicBezTo>
                        <a:pt x="2581" y="198"/>
                        <a:pt x="2595" y="203"/>
                        <a:pt x="2613" y="209"/>
                      </a:cubicBezTo>
                      <a:cubicBezTo>
                        <a:pt x="2631" y="215"/>
                        <a:pt x="2654" y="225"/>
                        <a:pt x="2667" y="236"/>
                      </a:cubicBezTo>
                      <a:cubicBezTo>
                        <a:pt x="2680" y="247"/>
                        <a:pt x="2682" y="260"/>
                        <a:pt x="2689" y="275"/>
                      </a:cubicBezTo>
                      <a:cubicBezTo>
                        <a:pt x="2696" y="290"/>
                        <a:pt x="2702" y="305"/>
                        <a:pt x="2710" y="328"/>
                      </a:cubicBezTo>
                      <a:cubicBezTo>
                        <a:pt x="2718" y="351"/>
                        <a:pt x="2724" y="386"/>
                        <a:pt x="2736" y="416"/>
                      </a:cubicBezTo>
                      <a:cubicBezTo>
                        <a:pt x="2748" y="446"/>
                        <a:pt x="2762" y="489"/>
                        <a:pt x="2784" y="506"/>
                      </a:cubicBezTo>
                      <a:cubicBezTo>
                        <a:pt x="2806" y="523"/>
                        <a:pt x="2845" y="511"/>
                        <a:pt x="2868" y="518"/>
                      </a:cubicBezTo>
                      <a:cubicBezTo>
                        <a:pt x="2891" y="525"/>
                        <a:pt x="2908" y="540"/>
                        <a:pt x="2925" y="551"/>
                      </a:cubicBezTo>
                      <a:cubicBezTo>
                        <a:pt x="2942" y="562"/>
                        <a:pt x="2956" y="574"/>
                        <a:pt x="2973" y="584"/>
                      </a:cubicBezTo>
                      <a:cubicBezTo>
                        <a:pt x="2990" y="594"/>
                        <a:pt x="3015" y="603"/>
                        <a:pt x="3027" y="614"/>
                      </a:cubicBezTo>
                      <a:cubicBezTo>
                        <a:pt x="3039" y="625"/>
                        <a:pt x="3047" y="639"/>
                        <a:pt x="3048" y="650"/>
                      </a:cubicBezTo>
                      <a:cubicBezTo>
                        <a:pt x="3049" y="661"/>
                        <a:pt x="3041" y="674"/>
                        <a:pt x="3032" y="680"/>
                      </a:cubicBezTo>
                      <a:cubicBezTo>
                        <a:pt x="3023" y="686"/>
                        <a:pt x="3000" y="680"/>
                        <a:pt x="2991" y="689"/>
                      </a:cubicBezTo>
                      <a:cubicBezTo>
                        <a:pt x="2982" y="698"/>
                        <a:pt x="2987" y="729"/>
                        <a:pt x="2976" y="737"/>
                      </a:cubicBezTo>
                      <a:cubicBezTo>
                        <a:pt x="2965" y="745"/>
                        <a:pt x="2938" y="736"/>
                        <a:pt x="2922" y="737"/>
                      </a:cubicBezTo>
                      <a:cubicBezTo>
                        <a:pt x="2906" y="738"/>
                        <a:pt x="2892" y="737"/>
                        <a:pt x="2880" y="740"/>
                      </a:cubicBezTo>
                      <a:cubicBezTo>
                        <a:pt x="2868" y="743"/>
                        <a:pt x="2857" y="744"/>
                        <a:pt x="2848" y="755"/>
                      </a:cubicBezTo>
                      <a:cubicBezTo>
                        <a:pt x="2839" y="766"/>
                        <a:pt x="2828" y="784"/>
                        <a:pt x="2829" y="803"/>
                      </a:cubicBezTo>
                      <a:cubicBezTo>
                        <a:pt x="2830" y="822"/>
                        <a:pt x="2843" y="854"/>
                        <a:pt x="2854" y="871"/>
                      </a:cubicBezTo>
                      <a:cubicBezTo>
                        <a:pt x="2865" y="888"/>
                        <a:pt x="2876" y="897"/>
                        <a:pt x="2895" y="902"/>
                      </a:cubicBezTo>
                      <a:cubicBezTo>
                        <a:pt x="2914" y="907"/>
                        <a:pt x="2937" y="904"/>
                        <a:pt x="2967" y="899"/>
                      </a:cubicBezTo>
                      <a:cubicBezTo>
                        <a:pt x="2997" y="894"/>
                        <a:pt x="3042" y="876"/>
                        <a:pt x="3078" y="869"/>
                      </a:cubicBezTo>
                      <a:cubicBezTo>
                        <a:pt x="3114" y="862"/>
                        <a:pt x="3166" y="846"/>
                        <a:pt x="3186" y="854"/>
                      </a:cubicBezTo>
                      <a:cubicBezTo>
                        <a:pt x="3206" y="862"/>
                        <a:pt x="3193" y="902"/>
                        <a:pt x="3198" y="917"/>
                      </a:cubicBezTo>
                      <a:cubicBezTo>
                        <a:pt x="3203" y="932"/>
                        <a:pt x="3204" y="918"/>
                        <a:pt x="3215" y="946"/>
                      </a:cubicBezTo>
                      <a:cubicBezTo>
                        <a:pt x="3226" y="974"/>
                        <a:pt x="3255" y="1052"/>
                        <a:pt x="3267" y="1088"/>
                      </a:cubicBezTo>
                      <a:cubicBezTo>
                        <a:pt x="3279" y="1124"/>
                        <a:pt x="3289" y="1140"/>
                        <a:pt x="3289" y="1160"/>
                      </a:cubicBezTo>
                      <a:cubicBezTo>
                        <a:pt x="3289" y="1180"/>
                        <a:pt x="3268" y="1188"/>
                        <a:pt x="3268" y="1211"/>
                      </a:cubicBezTo>
                      <a:cubicBezTo>
                        <a:pt x="3268" y="1234"/>
                        <a:pt x="3295" y="1284"/>
                        <a:pt x="3291" y="1301"/>
                      </a:cubicBezTo>
                      <a:cubicBezTo>
                        <a:pt x="3287" y="1318"/>
                        <a:pt x="3258" y="1306"/>
                        <a:pt x="3243" y="1313"/>
                      </a:cubicBezTo>
                      <a:cubicBezTo>
                        <a:pt x="3228" y="1320"/>
                        <a:pt x="3220" y="1319"/>
                        <a:pt x="3201" y="1343"/>
                      </a:cubicBezTo>
                      <a:cubicBezTo>
                        <a:pt x="3182" y="1367"/>
                        <a:pt x="3143" y="1425"/>
                        <a:pt x="3128" y="1455"/>
                      </a:cubicBezTo>
                      <a:cubicBezTo>
                        <a:pt x="3113" y="1485"/>
                        <a:pt x="3121" y="1500"/>
                        <a:pt x="3109" y="1522"/>
                      </a:cubicBezTo>
                      <a:cubicBezTo>
                        <a:pt x="3097" y="1544"/>
                        <a:pt x="3076" y="1562"/>
                        <a:pt x="3057" y="1586"/>
                      </a:cubicBezTo>
                      <a:cubicBezTo>
                        <a:pt x="3038" y="1610"/>
                        <a:pt x="3016" y="1637"/>
                        <a:pt x="2998" y="1667"/>
                      </a:cubicBezTo>
                      <a:cubicBezTo>
                        <a:pt x="2980" y="1697"/>
                        <a:pt x="2952" y="1743"/>
                        <a:pt x="2950" y="1768"/>
                      </a:cubicBezTo>
                      <a:cubicBezTo>
                        <a:pt x="2948" y="1793"/>
                        <a:pt x="2973" y="1804"/>
                        <a:pt x="2985" y="1817"/>
                      </a:cubicBezTo>
                      <a:cubicBezTo>
                        <a:pt x="2997" y="1830"/>
                        <a:pt x="3028" y="1834"/>
                        <a:pt x="3024" y="1844"/>
                      </a:cubicBezTo>
                      <a:cubicBezTo>
                        <a:pt x="3020" y="1854"/>
                        <a:pt x="2978" y="1863"/>
                        <a:pt x="2964" y="1875"/>
                      </a:cubicBezTo>
                      <a:cubicBezTo>
                        <a:pt x="2950" y="1887"/>
                        <a:pt x="2945" y="1896"/>
                        <a:pt x="2941" y="1915"/>
                      </a:cubicBezTo>
                      <a:cubicBezTo>
                        <a:pt x="2937" y="1934"/>
                        <a:pt x="2945" y="1963"/>
                        <a:pt x="2933" y="1989"/>
                      </a:cubicBezTo>
                      <a:cubicBezTo>
                        <a:pt x="2921" y="2015"/>
                        <a:pt x="2889" y="2049"/>
                        <a:pt x="2871" y="2072"/>
                      </a:cubicBezTo>
                      <a:cubicBezTo>
                        <a:pt x="2853" y="2095"/>
                        <a:pt x="2840" y="2112"/>
                        <a:pt x="2822" y="2129"/>
                      </a:cubicBezTo>
                      <a:cubicBezTo>
                        <a:pt x="2804" y="2146"/>
                        <a:pt x="2784" y="2159"/>
                        <a:pt x="2766" y="2174"/>
                      </a:cubicBezTo>
                      <a:cubicBezTo>
                        <a:pt x="2748" y="2189"/>
                        <a:pt x="2729" y="2215"/>
                        <a:pt x="2712" y="2222"/>
                      </a:cubicBezTo>
                      <a:cubicBezTo>
                        <a:pt x="2695" y="2229"/>
                        <a:pt x="2677" y="2212"/>
                        <a:pt x="2664" y="2219"/>
                      </a:cubicBezTo>
                      <a:cubicBezTo>
                        <a:pt x="2651" y="2226"/>
                        <a:pt x="2648" y="2259"/>
                        <a:pt x="2634" y="2267"/>
                      </a:cubicBezTo>
                      <a:cubicBezTo>
                        <a:pt x="2620" y="2275"/>
                        <a:pt x="2594" y="2267"/>
                        <a:pt x="2577" y="2267"/>
                      </a:cubicBezTo>
                      <a:cubicBezTo>
                        <a:pt x="2560" y="2267"/>
                        <a:pt x="2543" y="2265"/>
                        <a:pt x="2529" y="2267"/>
                      </a:cubicBezTo>
                      <a:cubicBezTo>
                        <a:pt x="2515" y="2269"/>
                        <a:pt x="2498" y="2269"/>
                        <a:pt x="2491" y="2282"/>
                      </a:cubicBezTo>
                      <a:cubicBezTo>
                        <a:pt x="2484" y="2295"/>
                        <a:pt x="2485" y="2329"/>
                        <a:pt x="2485" y="2347"/>
                      </a:cubicBezTo>
                      <a:cubicBezTo>
                        <a:pt x="2485" y="2365"/>
                        <a:pt x="2488" y="2377"/>
                        <a:pt x="2490" y="2393"/>
                      </a:cubicBezTo>
                      <a:cubicBezTo>
                        <a:pt x="2492" y="2409"/>
                        <a:pt x="2501" y="2429"/>
                        <a:pt x="2500" y="2441"/>
                      </a:cubicBezTo>
                      <a:cubicBezTo>
                        <a:pt x="2499" y="2453"/>
                        <a:pt x="2490" y="2461"/>
                        <a:pt x="2485" y="2468"/>
                      </a:cubicBezTo>
                      <a:cubicBezTo>
                        <a:pt x="2480" y="2475"/>
                        <a:pt x="2474" y="2484"/>
                        <a:pt x="2469" y="2483"/>
                      </a:cubicBezTo>
                      <a:cubicBezTo>
                        <a:pt x="2464" y="2482"/>
                        <a:pt x="2462" y="2477"/>
                        <a:pt x="2457" y="2462"/>
                      </a:cubicBezTo>
                      <a:cubicBezTo>
                        <a:pt x="2452" y="2447"/>
                        <a:pt x="2445" y="2409"/>
                        <a:pt x="2441" y="2390"/>
                      </a:cubicBezTo>
                      <a:cubicBezTo>
                        <a:pt x="2437" y="2371"/>
                        <a:pt x="2442" y="2349"/>
                        <a:pt x="2433" y="2345"/>
                      </a:cubicBezTo>
                      <a:cubicBezTo>
                        <a:pt x="2424" y="2341"/>
                        <a:pt x="2400" y="2354"/>
                        <a:pt x="2388" y="2367"/>
                      </a:cubicBezTo>
                      <a:cubicBezTo>
                        <a:pt x="2376" y="2380"/>
                        <a:pt x="2369" y="2406"/>
                        <a:pt x="2361" y="2423"/>
                      </a:cubicBezTo>
                      <a:cubicBezTo>
                        <a:pt x="2353" y="2440"/>
                        <a:pt x="2352" y="2455"/>
                        <a:pt x="2337" y="2470"/>
                      </a:cubicBezTo>
                      <a:cubicBezTo>
                        <a:pt x="2322" y="2485"/>
                        <a:pt x="2286" y="2492"/>
                        <a:pt x="2273" y="2511"/>
                      </a:cubicBezTo>
                      <a:cubicBezTo>
                        <a:pt x="2260" y="2532"/>
                        <a:pt x="2264" y="2568"/>
                        <a:pt x="2264" y="2587"/>
                      </a:cubicBezTo>
                      <a:cubicBezTo>
                        <a:pt x="2267" y="2608"/>
                        <a:pt x="2277" y="2621"/>
                        <a:pt x="2281" y="2636"/>
                      </a:cubicBezTo>
                      <a:cubicBezTo>
                        <a:pt x="2284" y="2651"/>
                        <a:pt x="2280" y="2660"/>
                        <a:pt x="2281" y="2674"/>
                      </a:cubicBezTo>
                      <a:cubicBezTo>
                        <a:pt x="2282" y="2688"/>
                        <a:pt x="2293" y="2708"/>
                        <a:pt x="2289" y="2720"/>
                      </a:cubicBezTo>
                      <a:cubicBezTo>
                        <a:pt x="2285" y="2732"/>
                        <a:pt x="2266" y="2738"/>
                        <a:pt x="2256" y="2747"/>
                      </a:cubicBezTo>
                      <a:cubicBezTo>
                        <a:pt x="2246" y="2756"/>
                        <a:pt x="2241" y="2759"/>
                        <a:pt x="2231" y="2772"/>
                      </a:cubicBezTo>
                      <a:cubicBezTo>
                        <a:pt x="2221" y="2785"/>
                        <a:pt x="2203" y="2808"/>
                        <a:pt x="2197" y="2825"/>
                      </a:cubicBezTo>
                      <a:cubicBezTo>
                        <a:pt x="2190" y="2844"/>
                        <a:pt x="2203" y="2866"/>
                        <a:pt x="2197" y="2878"/>
                      </a:cubicBezTo>
                      <a:cubicBezTo>
                        <a:pt x="2191" y="2890"/>
                        <a:pt x="2172" y="2890"/>
                        <a:pt x="2163" y="2900"/>
                      </a:cubicBezTo>
                      <a:cubicBezTo>
                        <a:pt x="2154" y="2910"/>
                        <a:pt x="2147" y="2923"/>
                        <a:pt x="2144" y="2937"/>
                      </a:cubicBezTo>
                      <a:cubicBezTo>
                        <a:pt x="2141" y="2951"/>
                        <a:pt x="2133" y="2969"/>
                        <a:pt x="2144" y="2984"/>
                      </a:cubicBezTo>
                      <a:cubicBezTo>
                        <a:pt x="2155" y="2999"/>
                        <a:pt x="2204" y="3015"/>
                        <a:pt x="2211" y="3029"/>
                      </a:cubicBezTo>
                      <a:cubicBezTo>
                        <a:pt x="2218" y="3043"/>
                        <a:pt x="2186" y="3056"/>
                        <a:pt x="2184" y="3071"/>
                      </a:cubicBezTo>
                      <a:cubicBezTo>
                        <a:pt x="2182" y="3086"/>
                        <a:pt x="2204" y="3097"/>
                        <a:pt x="2199" y="3116"/>
                      </a:cubicBezTo>
                      <a:cubicBezTo>
                        <a:pt x="2194" y="3135"/>
                        <a:pt x="2168" y="3164"/>
                        <a:pt x="2154" y="3188"/>
                      </a:cubicBezTo>
                      <a:cubicBezTo>
                        <a:pt x="2140" y="3212"/>
                        <a:pt x="2119" y="3233"/>
                        <a:pt x="2112" y="3263"/>
                      </a:cubicBezTo>
                      <a:cubicBezTo>
                        <a:pt x="2105" y="3293"/>
                        <a:pt x="2101" y="3337"/>
                        <a:pt x="2109" y="3368"/>
                      </a:cubicBezTo>
                      <a:cubicBezTo>
                        <a:pt x="2117" y="3399"/>
                        <a:pt x="2161" y="3420"/>
                        <a:pt x="2163" y="3449"/>
                      </a:cubicBezTo>
                      <a:cubicBezTo>
                        <a:pt x="2165" y="3478"/>
                        <a:pt x="2138" y="3517"/>
                        <a:pt x="2120" y="3542"/>
                      </a:cubicBezTo>
                      <a:close/>
                    </a:path>
                  </a:pathLst>
                </a:custGeom>
                <a:solidFill>
                  <a:srgbClr val="CCFFFF">
                    <a:alpha val="59999"/>
                  </a:srgbClr>
                </a:solidFill>
                <a:ln w="9525">
                  <a:solidFill>
                    <a:srgbClr val="666699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136" name="Freeform 12"/>
                <p:cNvSpPr>
                  <a:spLocks/>
                </p:cNvSpPr>
                <p:nvPr/>
              </p:nvSpPr>
              <p:spPr bwMode="auto">
                <a:xfrm>
                  <a:off x="6066" y="5585"/>
                  <a:ext cx="2246" cy="1974"/>
                </a:xfrm>
                <a:custGeom>
                  <a:avLst/>
                  <a:gdLst>
                    <a:gd name="T0" fmla="*/ 903 w 2246"/>
                    <a:gd name="T1" fmla="*/ 598 h 1974"/>
                    <a:gd name="T2" fmla="*/ 756 w 2246"/>
                    <a:gd name="T3" fmla="*/ 643 h 1974"/>
                    <a:gd name="T4" fmla="*/ 684 w 2246"/>
                    <a:gd name="T5" fmla="*/ 640 h 1974"/>
                    <a:gd name="T6" fmla="*/ 609 w 2246"/>
                    <a:gd name="T7" fmla="*/ 589 h 1974"/>
                    <a:gd name="T8" fmla="*/ 609 w 2246"/>
                    <a:gd name="T9" fmla="*/ 691 h 1974"/>
                    <a:gd name="T10" fmla="*/ 521 w 2246"/>
                    <a:gd name="T11" fmla="*/ 733 h 1974"/>
                    <a:gd name="T12" fmla="*/ 432 w 2246"/>
                    <a:gd name="T13" fmla="*/ 690 h 1974"/>
                    <a:gd name="T14" fmla="*/ 471 w 2246"/>
                    <a:gd name="T15" fmla="*/ 835 h 1974"/>
                    <a:gd name="T16" fmla="*/ 525 w 2246"/>
                    <a:gd name="T17" fmla="*/ 1024 h 1974"/>
                    <a:gd name="T18" fmla="*/ 426 w 2246"/>
                    <a:gd name="T19" fmla="*/ 1186 h 1974"/>
                    <a:gd name="T20" fmla="*/ 147 w 2246"/>
                    <a:gd name="T21" fmla="*/ 1159 h 1974"/>
                    <a:gd name="T22" fmla="*/ 18 w 2246"/>
                    <a:gd name="T23" fmla="*/ 1207 h 1974"/>
                    <a:gd name="T24" fmla="*/ 96 w 2246"/>
                    <a:gd name="T25" fmla="*/ 1303 h 1974"/>
                    <a:gd name="T26" fmla="*/ 63 w 2246"/>
                    <a:gd name="T27" fmla="*/ 1420 h 1974"/>
                    <a:gd name="T28" fmla="*/ 21 w 2246"/>
                    <a:gd name="T29" fmla="*/ 1534 h 1974"/>
                    <a:gd name="T30" fmla="*/ 121 w 2246"/>
                    <a:gd name="T31" fmla="*/ 1630 h 1974"/>
                    <a:gd name="T32" fmla="*/ 343 w 2246"/>
                    <a:gd name="T33" fmla="*/ 1717 h 1974"/>
                    <a:gd name="T34" fmla="*/ 534 w 2246"/>
                    <a:gd name="T35" fmla="*/ 1766 h 1974"/>
                    <a:gd name="T36" fmla="*/ 641 w 2246"/>
                    <a:gd name="T37" fmla="*/ 1811 h 1974"/>
                    <a:gd name="T38" fmla="*/ 707 w 2246"/>
                    <a:gd name="T39" fmla="*/ 1796 h 1974"/>
                    <a:gd name="T40" fmla="*/ 730 w 2246"/>
                    <a:gd name="T41" fmla="*/ 1890 h 1974"/>
                    <a:gd name="T42" fmla="*/ 838 w 2246"/>
                    <a:gd name="T43" fmla="*/ 1880 h 1974"/>
                    <a:gd name="T44" fmla="*/ 917 w 2246"/>
                    <a:gd name="T45" fmla="*/ 1791 h 1974"/>
                    <a:gd name="T46" fmla="*/ 1067 w 2246"/>
                    <a:gd name="T47" fmla="*/ 1842 h 1974"/>
                    <a:gd name="T48" fmla="*/ 1161 w 2246"/>
                    <a:gd name="T49" fmla="*/ 1954 h 1974"/>
                    <a:gd name="T50" fmla="*/ 1256 w 2246"/>
                    <a:gd name="T51" fmla="*/ 1878 h 1974"/>
                    <a:gd name="T52" fmla="*/ 1396 w 2246"/>
                    <a:gd name="T53" fmla="*/ 1926 h 1974"/>
                    <a:gd name="T54" fmla="*/ 1475 w 2246"/>
                    <a:gd name="T55" fmla="*/ 1878 h 1974"/>
                    <a:gd name="T56" fmla="*/ 1580 w 2246"/>
                    <a:gd name="T57" fmla="*/ 1811 h 1974"/>
                    <a:gd name="T58" fmla="*/ 1689 w 2246"/>
                    <a:gd name="T59" fmla="*/ 1857 h 1974"/>
                    <a:gd name="T60" fmla="*/ 1774 w 2246"/>
                    <a:gd name="T61" fmla="*/ 1901 h 1974"/>
                    <a:gd name="T62" fmla="*/ 1932 w 2246"/>
                    <a:gd name="T63" fmla="*/ 1885 h 1974"/>
                    <a:gd name="T64" fmla="*/ 2124 w 2246"/>
                    <a:gd name="T65" fmla="*/ 1672 h 1974"/>
                    <a:gd name="T66" fmla="*/ 2169 w 2246"/>
                    <a:gd name="T67" fmla="*/ 1546 h 1974"/>
                    <a:gd name="T68" fmla="*/ 2228 w 2246"/>
                    <a:gd name="T69" fmla="*/ 1460 h 1974"/>
                    <a:gd name="T70" fmla="*/ 2207 w 2246"/>
                    <a:gd name="T71" fmla="*/ 1309 h 1974"/>
                    <a:gd name="T72" fmla="*/ 2148 w 2246"/>
                    <a:gd name="T73" fmla="*/ 1225 h 1974"/>
                    <a:gd name="T74" fmla="*/ 1977 w 2246"/>
                    <a:gd name="T75" fmla="*/ 1177 h 1974"/>
                    <a:gd name="T76" fmla="*/ 1939 w 2246"/>
                    <a:gd name="T77" fmla="*/ 1024 h 1974"/>
                    <a:gd name="T78" fmla="*/ 1866 w 2246"/>
                    <a:gd name="T79" fmla="*/ 952 h 1974"/>
                    <a:gd name="T80" fmla="*/ 1860 w 2246"/>
                    <a:gd name="T81" fmla="*/ 811 h 1974"/>
                    <a:gd name="T82" fmla="*/ 1784 w 2246"/>
                    <a:gd name="T83" fmla="*/ 723 h 1974"/>
                    <a:gd name="T84" fmla="*/ 1773 w 2246"/>
                    <a:gd name="T85" fmla="*/ 571 h 1974"/>
                    <a:gd name="T86" fmla="*/ 1938 w 2246"/>
                    <a:gd name="T87" fmla="*/ 508 h 1974"/>
                    <a:gd name="T88" fmla="*/ 2139 w 2246"/>
                    <a:gd name="T89" fmla="*/ 436 h 1974"/>
                    <a:gd name="T90" fmla="*/ 2127 w 2246"/>
                    <a:gd name="T91" fmla="*/ 352 h 1974"/>
                    <a:gd name="T92" fmla="*/ 2067 w 2246"/>
                    <a:gd name="T93" fmla="*/ 394 h 1974"/>
                    <a:gd name="T94" fmla="*/ 1974 w 2246"/>
                    <a:gd name="T95" fmla="*/ 472 h 1974"/>
                    <a:gd name="T96" fmla="*/ 1893 w 2246"/>
                    <a:gd name="T97" fmla="*/ 376 h 1974"/>
                    <a:gd name="T98" fmla="*/ 1821 w 2246"/>
                    <a:gd name="T99" fmla="*/ 337 h 1974"/>
                    <a:gd name="T100" fmla="*/ 1728 w 2246"/>
                    <a:gd name="T101" fmla="*/ 352 h 1974"/>
                    <a:gd name="T102" fmla="*/ 1608 w 2246"/>
                    <a:gd name="T103" fmla="*/ 262 h 1974"/>
                    <a:gd name="T104" fmla="*/ 1455 w 2246"/>
                    <a:gd name="T105" fmla="*/ 238 h 1974"/>
                    <a:gd name="T106" fmla="*/ 1440 w 2246"/>
                    <a:gd name="T107" fmla="*/ 190 h 1974"/>
                    <a:gd name="T108" fmla="*/ 1401 w 2246"/>
                    <a:gd name="T109" fmla="*/ 130 h 1974"/>
                    <a:gd name="T110" fmla="*/ 1305 w 2246"/>
                    <a:gd name="T111" fmla="*/ 79 h 1974"/>
                    <a:gd name="T112" fmla="*/ 1236 w 2246"/>
                    <a:gd name="T113" fmla="*/ 10 h 1974"/>
                    <a:gd name="T114" fmla="*/ 1221 w 2246"/>
                    <a:gd name="T115" fmla="*/ 67 h 1974"/>
                    <a:gd name="T116" fmla="*/ 1146 w 2246"/>
                    <a:gd name="T117" fmla="*/ 187 h 1974"/>
                    <a:gd name="T118" fmla="*/ 1023 w 2246"/>
                    <a:gd name="T119" fmla="*/ 457 h 1974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w 2246"/>
                    <a:gd name="T181" fmla="*/ 0 h 1974"/>
                    <a:gd name="T182" fmla="*/ 2246 w 2246"/>
                    <a:gd name="T183" fmla="*/ 1974 h 1974"/>
                  </a:gdLst>
                  <a:ahLst/>
                  <a:cxnLst>
                    <a:cxn ang="T120">
                      <a:pos x="T0" y="T1"/>
                    </a:cxn>
                    <a:cxn ang="T121">
                      <a:pos x="T2" y="T3"/>
                    </a:cxn>
                    <a:cxn ang="T122">
                      <a:pos x="T4" y="T5"/>
                    </a:cxn>
                    <a:cxn ang="T123">
                      <a:pos x="T6" y="T7"/>
                    </a:cxn>
                    <a:cxn ang="T124">
                      <a:pos x="T8" y="T9"/>
                    </a:cxn>
                    <a:cxn ang="T125">
                      <a:pos x="T10" y="T11"/>
                    </a:cxn>
                    <a:cxn ang="T126">
                      <a:pos x="T12" y="T13"/>
                    </a:cxn>
                    <a:cxn ang="T127">
                      <a:pos x="T14" y="T15"/>
                    </a:cxn>
                    <a:cxn ang="T128">
                      <a:pos x="T16" y="T17"/>
                    </a:cxn>
                    <a:cxn ang="T129">
                      <a:pos x="T18" y="T19"/>
                    </a:cxn>
                    <a:cxn ang="T130">
                      <a:pos x="T20" y="T21"/>
                    </a:cxn>
                    <a:cxn ang="T131">
                      <a:pos x="T22" y="T23"/>
                    </a:cxn>
                    <a:cxn ang="T132">
                      <a:pos x="T24" y="T25"/>
                    </a:cxn>
                    <a:cxn ang="T133">
                      <a:pos x="T26" y="T27"/>
                    </a:cxn>
                    <a:cxn ang="T134">
                      <a:pos x="T28" y="T29"/>
                    </a:cxn>
                    <a:cxn ang="T135">
                      <a:pos x="T30" y="T31"/>
                    </a:cxn>
                    <a:cxn ang="T136">
                      <a:pos x="T32" y="T33"/>
                    </a:cxn>
                    <a:cxn ang="T137">
                      <a:pos x="T34" y="T35"/>
                    </a:cxn>
                    <a:cxn ang="T138">
                      <a:pos x="T36" y="T37"/>
                    </a:cxn>
                    <a:cxn ang="T139">
                      <a:pos x="T38" y="T39"/>
                    </a:cxn>
                    <a:cxn ang="T140">
                      <a:pos x="T40" y="T41"/>
                    </a:cxn>
                    <a:cxn ang="T141">
                      <a:pos x="T42" y="T43"/>
                    </a:cxn>
                    <a:cxn ang="T142">
                      <a:pos x="T44" y="T45"/>
                    </a:cxn>
                    <a:cxn ang="T143">
                      <a:pos x="T46" y="T47"/>
                    </a:cxn>
                    <a:cxn ang="T144">
                      <a:pos x="T48" y="T49"/>
                    </a:cxn>
                    <a:cxn ang="T145">
                      <a:pos x="T50" y="T51"/>
                    </a:cxn>
                    <a:cxn ang="T146">
                      <a:pos x="T52" y="T53"/>
                    </a:cxn>
                    <a:cxn ang="T147">
                      <a:pos x="T54" y="T55"/>
                    </a:cxn>
                    <a:cxn ang="T148">
                      <a:pos x="T56" y="T57"/>
                    </a:cxn>
                    <a:cxn ang="T149">
                      <a:pos x="T58" y="T59"/>
                    </a:cxn>
                    <a:cxn ang="T150">
                      <a:pos x="T60" y="T61"/>
                    </a:cxn>
                    <a:cxn ang="T151">
                      <a:pos x="T62" y="T63"/>
                    </a:cxn>
                    <a:cxn ang="T152">
                      <a:pos x="T64" y="T65"/>
                    </a:cxn>
                    <a:cxn ang="T153">
                      <a:pos x="T66" y="T67"/>
                    </a:cxn>
                    <a:cxn ang="T154">
                      <a:pos x="T68" y="T69"/>
                    </a:cxn>
                    <a:cxn ang="T155">
                      <a:pos x="T70" y="T71"/>
                    </a:cxn>
                    <a:cxn ang="T156">
                      <a:pos x="T72" y="T73"/>
                    </a:cxn>
                    <a:cxn ang="T157">
                      <a:pos x="T74" y="T75"/>
                    </a:cxn>
                    <a:cxn ang="T158">
                      <a:pos x="T76" y="T77"/>
                    </a:cxn>
                    <a:cxn ang="T159">
                      <a:pos x="T78" y="T79"/>
                    </a:cxn>
                    <a:cxn ang="T160">
                      <a:pos x="T80" y="T81"/>
                    </a:cxn>
                    <a:cxn ang="T161">
                      <a:pos x="T82" y="T83"/>
                    </a:cxn>
                    <a:cxn ang="T162">
                      <a:pos x="T84" y="T85"/>
                    </a:cxn>
                    <a:cxn ang="T163">
                      <a:pos x="T86" y="T87"/>
                    </a:cxn>
                    <a:cxn ang="T164">
                      <a:pos x="T88" y="T89"/>
                    </a:cxn>
                    <a:cxn ang="T165">
                      <a:pos x="T90" y="T91"/>
                    </a:cxn>
                    <a:cxn ang="T166">
                      <a:pos x="T92" y="T93"/>
                    </a:cxn>
                    <a:cxn ang="T167">
                      <a:pos x="T94" y="T95"/>
                    </a:cxn>
                    <a:cxn ang="T168">
                      <a:pos x="T96" y="T97"/>
                    </a:cxn>
                    <a:cxn ang="T169">
                      <a:pos x="T98" y="T99"/>
                    </a:cxn>
                    <a:cxn ang="T170">
                      <a:pos x="T100" y="T101"/>
                    </a:cxn>
                    <a:cxn ang="T171">
                      <a:pos x="T102" y="T103"/>
                    </a:cxn>
                    <a:cxn ang="T172">
                      <a:pos x="T104" y="T105"/>
                    </a:cxn>
                    <a:cxn ang="T173">
                      <a:pos x="T106" y="T107"/>
                    </a:cxn>
                    <a:cxn ang="T174">
                      <a:pos x="T108" y="T109"/>
                    </a:cxn>
                    <a:cxn ang="T175">
                      <a:pos x="T110" y="T111"/>
                    </a:cxn>
                    <a:cxn ang="T176">
                      <a:pos x="T112" y="T113"/>
                    </a:cxn>
                    <a:cxn ang="T177">
                      <a:pos x="T114" y="T115"/>
                    </a:cxn>
                    <a:cxn ang="T178">
                      <a:pos x="T116" y="T117"/>
                    </a:cxn>
                    <a:cxn ang="T179">
                      <a:pos x="T118" y="T119"/>
                    </a:cxn>
                  </a:cxnLst>
                  <a:rect l="T180" t="T181" r="T182" b="T183"/>
                  <a:pathLst>
                    <a:path w="2246" h="1974">
                      <a:moveTo>
                        <a:pt x="999" y="505"/>
                      </a:moveTo>
                      <a:cubicBezTo>
                        <a:pt x="986" y="522"/>
                        <a:pt x="967" y="538"/>
                        <a:pt x="951" y="553"/>
                      </a:cubicBezTo>
                      <a:cubicBezTo>
                        <a:pt x="935" y="568"/>
                        <a:pt x="918" y="588"/>
                        <a:pt x="903" y="598"/>
                      </a:cubicBezTo>
                      <a:cubicBezTo>
                        <a:pt x="888" y="608"/>
                        <a:pt x="874" y="609"/>
                        <a:pt x="858" y="613"/>
                      </a:cubicBezTo>
                      <a:cubicBezTo>
                        <a:pt x="842" y="617"/>
                        <a:pt x="824" y="620"/>
                        <a:pt x="807" y="625"/>
                      </a:cubicBezTo>
                      <a:cubicBezTo>
                        <a:pt x="790" y="630"/>
                        <a:pt x="769" y="637"/>
                        <a:pt x="756" y="643"/>
                      </a:cubicBezTo>
                      <a:cubicBezTo>
                        <a:pt x="743" y="649"/>
                        <a:pt x="740" y="657"/>
                        <a:pt x="732" y="661"/>
                      </a:cubicBezTo>
                      <a:cubicBezTo>
                        <a:pt x="724" y="665"/>
                        <a:pt x="716" y="671"/>
                        <a:pt x="708" y="667"/>
                      </a:cubicBezTo>
                      <a:cubicBezTo>
                        <a:pt x="700" y="663"/>
                        <a:pt x="690" y="651"/>
                        <a:pt x="684" y="640"/>
                      </a:cubicBezTo>
                      <a:cubicBezTo>
                        <a:pt x="678" y="629"/>
                        <a:pt x="677" y="606"/>
                        <a:pt x="672" y="598"/>
                      </a:cubicBezTo>
                      <a:cubicBezTo>
                        <a:pt x="667" y="590"/>
                        <a:pt x="661" y="593"/>
                        <a:pt x="651" y="592"/>
                      </a:cubicBezTo>
                      <a:cubicBezTo>
                        <a:pt x="641" y="591"/>
                        <a:pt x="626" y="589"/>
                        <a:pt x="609" y="589"/>
                      </a:cubicBezTo>
                      <a:cubicBezTo>
                        <a:pt x="592" y="589"/>
                        <a:pt x="554" y="586"/>
                        <a:pt x="549" y="592"/>
                      </a:cubicBezTo>
                      <a:cubicBezTo>
                        <a:pt x="544" y="598"/>
                        <a:pt x="569" y="612"/>
                        <a:pt x="579" y="628"/>
                      </a:cubicBezTo>
                      <a:cubicBezTo>
                        <a:pt x="589" y="644"/>
                        <a:pt x="605" y="672"/>
                        <a:pt x="609" y="691"/>
                      </a:cubicBezTo>
                      <a:cubicBezTo>
                        <a:pt x="613" y="710"/>
                        <a:pt x="615" y="730"/>
                        <a:pt x="606" y="742"/>
                      </a:cubicBezTo>
                      <a:cubicBezTo>
                        <a:pt x="597" y="754"/>
                        <a:pt x="566" y="764"/>
                        <a:pt x="552" y="763"/>
                      </a:cubicBezTo>
                      <a:cubicBezTo>
                        <a:pt x="538" y="762"/>
                        <a:pt x="530" y="743"/>
                        <a:pt x="521" y="733"/>
                      </a:cubicBezTo>
                      <a:cubicBezTo>
                        <a:pt x="512" y="723"/>
                        <a:pt x="508" y="704"/>
                        <a:pt x="498" y="703"/>
                      </a:cubicBezTo>
                      <a:cubicBezTo>
                        <a:pt x="488" y="702"/>
                        <a:pt x="471" y="727"/>
                        <a:pt x="460" y="725"/>
                      </a:cubicBezTo>
                      <a:cubicBezTo>
                        <a:pt x="449" y="723"/>
                        <a:pt x="441" y="696"/>
                        <a:pt x="432" y="690"/>
                      </a:cubicBezTo>
                      <a:cubicBezTo>
                        <a:pt x="423" y="684"/>
                        <a:pt x="404" y="678"/>
                        <a:pt x="405" y="688"/>
                      </a:cubicBezTo>
                      <a:cubicBezTo>
                        <a:pt x="406" y="698"/>
                        <a:pt x="424" y="724"/>
                        <a:pt x="435" y="748"/>
                      </a:cubicBezTo>
                      <a:cubicBezTo>
                        <a:pt x="446" y="772"/>
                        <a:pt x="462" y="813"/>
                        <a:pt x="471" y="835"/>
                      </a:cubicBezTo>
                      <a:cubicBezTo>
                        <a:pt x="480" y="857"/>
                        <a:pt x="479" y="863"/>
                        <a:pt x="486" y="880"/>
                      </a:cubicBezTo>
                      <a:cubicBezTo>
                        <a:pt x="493" y="897"/>
                        <a:pt x="507" y="913"/>
                        <a:pt x="513" y="937"/>
                      </a:cubicBezTo>
                      <a:cubicBezTo>
                        <a:pt x="519" y="961"/>
                        <a:pt x="524" y="1001"/>
                        <a:pt x="525" y="1024"/>
                      </a:cubicBezTo>
                      <a:cubicBezTo>
                        <a:pt x="526" y="1047"/>
                        <a:pt x="527" y="1057"/>
                        <a:pt x="519" y="1078"/>
                      </a:cubicBezTo>
                      <a:cubicBezTo>
                        <a:pt x="511" y="1099"/>
                        <a:pt x="492" y="1135"/>
                        <a:pt x="477" y="1153"/>
                      </a:cubicBezTo>
                      <a:cubicBezTo>
                        <a:pt x="462" y="1171"/>
                        <a:pt x="444" y="1184"/>
                        <a:pt x="426" y="1186"/>
                      </a:cubicBezTo>
                      <a:cubicBezTo>
                        <a:pt x="408" y="1188"/>
                        <a:pt x="396" y="1170"/>
                        <a:pt x="369" y="1165"/>
                      </a:cubicBezTo>
                      <a:cubicBezTo>
                        <a:pt x="342" y="1160"/>
                        <a:pt x="304" y="1157"/>
                        <a:pt x="267" y="1156"/>
                      </a:cubicBezTo>
                      <a:cubicBezTo>
                        <a:pt x="230" y="1155"/>
                        <a:pt x="182" y="1159"/>
                        <a:pt x="147" y="1159"/>
                      </a:cubicBezTo>
                      <a:cubicBezTo>
                        <a:pt x="112" y="1159"/>
                        <a:pt x="77" y="1156"/>
                        <a:pt x="54" y="1156"/>
                      </a:cubicBezTo>
                      <a:cubicBezTo>
                        <a:pt x="31" y="1156"/>
                        <a:pt x="12" y="1147"/>
                        <a:pt x="6" y="1156"/>
                      </a:cubicBezTo>
                      <a:cubicBezTo>
                        <a:pt x="0" y="1165"/>
                        <a:pt x="12" y="1193"/>
                        <a:pt x="18" y="1207"/>
                      </a:cubicBezTo>
                      <a:cubicBezTo>
                        <a:pt x="24" y="1221"/>
                        <a:pt x="32" y="1229"/>
                        <a:pt x="42" y="1240"/>
                      </a:cubicBezTo>
                      <a:cubicBezTo>
                        <a:pt x="52" y="1251"/>
                        <a:pt x="69" y="1260"/>
                        <a:pt x="78" y="1270"/>
                      </a:cubicBezTo>
                      <a:cubicBezTo>
                        <a:pt x="87" y="1280"/>
                        <a:pt x="96" y="1290"/>
                        <a:pt x="96" y="1303"/>
                      </a:cubicBezTo>
                      <a:cubicBezTo>
                        <a:pt x="96" y="1316"/>
                        <a:pt x="78" y="1333"/>
                        <a:pt x="75" y="1348"/>
                      </a:cubicBezTo>
                      <a:cubicBezTo>
                        <a:pt x="72" y="1363"/>
                        <a:pt x="77" y="1384"/>
                        <a:pt x="75" y="1396"/>
                      </a:cubicBezTo>
                      <a:cubicBezTo>
                        <a:pt x="73" y="1408"/>
                        <a:pt x="66" y="1411"/>
                        <a:pt x="63" y="1420"/>
                      </a:cubicBezTo>
                      <a:cubicBezTo>
                        <a:pt x="60" y="1429"/>
                        <a:pt x="60" y="1441"/>
                        <a:pt x="57" y="1453"/>
                      </a:cubicBezTo>
                      <a:cubicBezTo>
                        <a:pt x="54" y="1465"/>
                        <a:pt x="51" y="1479"/>
                        <a:pt x="45" y="1492"/>
                      </a:cubicBezTo>
                      <a:cubicBezTo>
                        <a:pt x="39" y="1505"/>
                        <a:pt x="22" y="1520"/>
                        <a:pt x="21" y="1534"/>
                      </a:cubicBezTo>
                      <a:cubicBezTo>
                        <a:pt x="20" y="1548"/>
                        <a:pt x="30" y="1564"/>
                        <a:pt x="36" y="1576"/>
                      </a:cubicBezTo>
                      <a:cubicBezTo>
                        <a:pt x="42" y="1588"/>
                        <a:pt x="46" y="1598"/>
                        <a:pt x="60" y="1607"/>
                      </a:cubicBezTo>
                      <a:cubicBezTo>
                        <a:pt x="74" y="1616"/>
                        <a:pt x="95" y="1619"/>
                        <a:pt x="121" y="1630"/>
                      </a:cubicBezTo>
                      <a:cubicBezTo>
                        <a:pt x="146" y="1641"/>
                        <a:pt x="185" y="1662"/>
                        <a:pt x="213" y="1674"/>
                      </a:cubicBezTo>
                      <a:cubicBezTo>
                        <a:pt x="240" y="1686"/>
                        <a:pt x="263" y="1695"/>
                        <a:pt x="284" y="1702"/>
                      </a:cubicBezTo>
                      <a:cubicBezTo>
                        <a:pt x="305" y="1709"/>
                        <a:pt x="327" y="1709"/>
                        <a:pt x="343" y="1717"/>
                      </a:cubicBezTo>
                      <a:cubicBezTo>
                        <a:pt x="358" y="1725"/>
                        <a:pt x="359" y="1745"/>
                        <a:pt x="376" y="1745"/>
                      </a:cubicBezTo>
                      <a:cubicBezTo>
                        <a:pt x="393" y="1745"/>
                        <a:pt x="421" y="1714"/>
                        <a:pt x="447" y="1717"/>
                      </a:cubicBezTo>
                      <a:cubicBezTo>
                        <a:pt x="474" y="1720"/>
                        <a:pt x="513" y="1756"/>
                        <a:pt x="534" y="1766"/>
                      </a:cubicBezTo>
                      <a:cubicBezTo>
                        <a:pt x="555" y="1775"/>
                        <a:pt x="565" y="1764"/>
                        <a:pt x="575" y="1773"/>
                      </a:cubicBezTo>
                      <a:cubicBezTo>
                        <a:pt x="584" y="1783"/>
                        <a:pt x="582" y="1818"/>
                        <a:pt x="593" y="1824"/>
                      </a:cubicBezTo>
                      <a:cubicBezTo>
                        <a:pt x="604" y="1830"/>
                        <a:pt x="632" y="1818"/>
                        <a:pt x="641" y="1811"/>
                      </a:cubicBezTo>
                      <a:cubicBezTo>
                        <a:pt x="650" y="1805"/>
                        <a:pt x="643" y="1790"/>
                        <a:pt x="649" y="1783"/>
                      </a:cubicBezTo>
                      <a:cubicBezTo>
                        <a:pt x="655" y="1777"/>
                        <a:pt x="668" y="1769"/>
                        <a:pt x="677" y="1771"/>
                      </a:cubicBezTo>
                      <a:cubicBezTo>
                        <a:pt x="686" y="1772"/>
                        <a:pt x="702" y="1788"/>
                        <a:pt x="707" y="1796"/>
                      </a:cubicBezTo>
                      <a:cubicBezTo>
                        <a:pt x="713" y="1805"/>
                        <a:pt x="708" y="1812"/>
                        <a:pt x="707" y="1824"/>
                      </a:cubicBezTo>
                      <a:cubicBezTo>
                        <a:pt x="707" y="1836"/>
                        <a:pt x="699" y="1856"/>
                        <a:pt x="702" y="1867"/>
                      </a:cubicBezTo>
                      <a:cubicBezTo>
                        <a:pt x="706" y="1879"/>
                        <a:pt x="721" y="1884"/>
                        <a:pt x="730" y="1890"/>
                      </a:cubicBezTo>
                      <a:cubicBezTo>
                        <a:pt x="740" y="1897"/>
                        <a:pt x="747" y="1913"/>
                        <a:pt x="756" y="1908"/>
                      </a:cubicBezTo>
                      <a:cubicBezTo>
                        <a:pt x="764" y="1904"/>
                        <a:pt x="770" y="1869"/>
                        <a:pt x="784" y="1865"/>
                      </a:cubicBezTo>
                      <a:cubicBezTo>
                        <a:pt x="798" y="1861"/>
                        <a:pt x="825" y="1884"/>
                        <a:pt x="838" y="1880"/>
                      </a:cubicBezTo>
                      <a:cubicBezTo>
                        <a:pt x="850" y="1877"/>
                        <a:pt x="852" y="1851"/>
                        <a:pt x="860" y="1845"/>
                      </a:cubicBezTo>
                      <a:cubicBezTo>
                        <a:pt x="869" y="1838"/>
                        <a:pt x="879" y="1845"/>
                        <a:pt x="889" y="1837"/>
                      </a:cubicBezTo>
                      <a:cubicBezTo>
                        <a:pt x="898" y="1828"/>
                        <a:pt x="900" y="1798"/>
                        <a:pt x="917" y="1791"/>
                      </a:cubicBezTo>
                      <a:cubicBezTo>
                        <a:pt x="933" y="1784"/>
                        <a:pt x="963" y="1794"/>
                        <a:pt x="988" y="1794"/>
                      </a:cubicBezTo>
                      <a:cubicBezTo>
                        <a:pt x="1013" y="1794"/>
                        <a:pt x="1054" y="1783"/>
                        <a:pt x="1067" y="1791"/>
                      </a:cubicBezTo>
                      <a:cubicBezTo>
                        <a:pt x="1080" y="1799"/>
                        <a:pt x="1065" y="1824"/>
                        <a:pt x="1067" y="1842"/>
                      </a:cubicBezTo>
                      <a:cubicBezTo>
                        <a:pt x="1069" y="1860"/>
                        <a:pt x="1068" y="1883"/>
                        <a:pt x="1075" y="1898"/>
                      </a:cubicBezTo>
                      <a:cubicBezTo>
                        <a:pt x="1082" y="1913"/>
                        <a:pt x="1093" y="1924"/>
                        <a:pt x="1108" y="1934"/>
                      </a:cubicBezTo>
                      <a:cubicBezTo>
                        <a:pt x="1122" y="1943"/>
                        <a:pt x="1148" y="1954"/>
                        <a:pt x="1161" y="1954"/>
                      </a:cubicBezTo>
                      <a:cubicBezTo>
                        <a:pt x="1175" y="1954"/>
                        <a:pt x="1184" y="1941"/>
                        <a:pt x="1192" y="1931"/>
                      </a:cubicBezTo>
                      <a:cubicBezTo>
                        <a:pt x="1201" y="1921"/>
                        <a:pt x="1201" y="1902"/>
                        <a:pt x="1212" y="1893"/>
                      </a:cubicBezTo>
                      <a:cubicBezTo>
                        <a:pt x="1224" y="1884"/>
                        <a:pt x="1240" y="1878"/>
                        <a:pt x="1256" y="1878"/>
                      </a:cubicBezTo>
                      <a:cubicBezTo>
                        <a:pt x="1272" y="1878"/>
                        <a:pt x="1293" y="1888"/>
                        <a:pt x="1309" y="1893"/>
                      </a:cubicBezTo>
                      <a:cubicBezTo>
                        <a:pt x="1326" y="1898"/>
                        <a:pt x="1341" y="1906"/>
                        <a:pt x="1355" y="1911"/>
                      </a:cubicBezTo>
                      <a:cubicBezTo>
                        <a:pt x="1370" y="1916"/>
                        <a:pt x="1387" y="1927"/>
                        <a:pt x="1396" y="1926"/>
                      </a:cubicBezTo>
                      <a:cubicBezTo>
                        <a:pt x="1405" y="1925"/>
                        <a:pt x="1405" y="1914"/>
                        <a:pt x="1411" y="1908"/>
                      </a:cubicBezTo>
                      <a:cubicBezTo>
                        <a:pt x="1418" y="1902"/>
                        <a:pt x="1428" y="1896"/>
                        <a:pt x="1439" y="1890"/>
                      </a:cubicBezTo>
                      <a:cubicBezTo>
                        <a:pt x="1451" y="1885"/>
                        <a:pt x="1462" y="1876"/>
                        <a:pt x="1475" y="1878"/>
                      </a:cubicBezTo>
                      <a:cubicBezTo>
                        <a:pt x="1488" y="1879"/>
                        <a:pt x="1504" y="1905"/>
                        <a:pt x="1516" y="1901"/>
                      </a:cubicBezTo>
                      <a:cubicBezTo>
                        <a:pt x="1528" y="1896"/>
                        <a:pt x="1536" y="1867"/>
                        <a:pt x="1547" y="1852"/>
                      </a:cubicBezTo>
                      <a:cubicBezTo>
                        <a:pt x="1557" y="1838"/>
                        <a:pt x="1569" y="1812"/>
                        <a:pt x="1580" y="1811"/>
                      </a:cubicBezTo>
                      <a:cubicBezTo>
                        <a:pt x="1591" y="1811"/>
                        <a:pt x="1602" y="1838"/>
                        <a:pt x="1615" y="1847"/>
                      </a:cubicBezTo>
                      <a:cubicBezTo>
                        <a:pt x="1629" y="1856"/>
                        <a:pt x="1649" y="1866"/>
                        <a:pt x="1661" y="1867"/>
                      </a:cubicBezTo>
                      <a:cubicBezTo>
                        <a:pt x="1674" y="1869"/>
                        <a:pt x="1680" y="1862"/>
                        <a:pt x="1689" y="1857"/>
                      </a:cubicBezTo>
                      <a:cubicBezTo>
                        <a:pt x="1699" y="1852"/>
                        <a:pt x="1709" y="1835"/>
                        <a:pt x="1717" y="1837"/>
                      </a:cubicBezTo>
                      <a:cubicBezTo>
                        <a:pt x="1726" y="1839"/>
                        <a:pt x="1731" y="1857"/>
                        <a:pt x="1740" y="1867"/>
                      </a:cubicBezTo>
                      <a:cubicBezTo>
                        <a:pt x="1750" y="1878"/>
                        <a:pt x="1764" y="1892"/>
                        <a:pt x="1774" y="1901"/>
                      </a:cubicBezTo>
                      <a:cubicBezTo>
                        <a:pt x="1783" y="1909"/>
                        <a:pt x="1787" y="1907"/>
                        <a:pt x="1799" y="1918"/>
                      </a:cubicBezTo>
                      <a:cubicBezTo>
                        <a:pt x="1811" y="1929"/>
                        <a:pt x="1823" y="1974"/>
                        <a:pt x="1845" y="1969"/>
                      </a:cubicBezTo>
                      <a:cubicBezTo>
                        <a:pt x="1867" y="1964"/>
                        <a:pt x="1906" y="1913"/>
                        <a:pt x="1932" y="1885"/>
                      </a:cubicBezTo>
                      <a:cubicBezTo>
                        <a:pt x="1958" y="1857"/>
                        <a:pt x="1976" y="1826"/>
                        <a:pt x="2001" y="1801"/>
                      </a:cubicBezTo>
                      <a:cubicBezTo>
                        <a:pt x="2026" y="1776"/>
                        <a:pt x="2062" y="1756"/>
                        <a:pt x="2082" y="1735"/>
                      </a:cubicBezTo>
                      <a:cubicBezTo>
                        <a:pt x="2102" y="1714"/>
                        <a:pt x="2116" y="1691"/>
                        <a:pt x="2124" y="1672"/>
                      </a:cubicBezTo>
                      <a:cubicBezTo>
                        <a:pt x="2132" y="1653"/>
                        <a:pt x="2125" y="1638"/>
                        <a:pt x="2127" y="1621"/>
                      </a:cubicBezTo>
                      <a:cubicBezTo>
                        <a:pt x="2129" y="1604"/>
                        <a:pt x="2129" y="1579"/>
                        <a:pt x="2136" y="1567"/>
                      </a:cubicBezTo>
                      <a:cubicBezTo>
                        <a:pt x="2143" y="1555"/>
                        <a:pt x="2155" y="1546"/>
                        <a:pt x="2169" y="1546"/>
                      </a:cubicBezTo>
                      <a:cubicBezTo>
                        <a:pt x="2183" y="1546"/>
                        <a:pt x="2211" y="1575"/>
                        <a:pt x="2220" y="1567"/>
                      </a:cubicBezTo>
                      <a:cubicBezTo>
                        <a:pt x="2229" y="1559"/>
                        <a:pt x="2224" y="1518"/>
                        <a:pt x="2225" y="1500"/>
                      </a:cubicBezTo>
                      <a:cubicBezTo>
                        <a:pt x="2226" y="1482"/>
                        <a:pt x="2226" y="1470"/>
                        <a:pt x="2228" y="1460"/>
                      </a:cubicBezTo>
                      <a:cubicBezTo>
                        <a:pt x="2230" y="1450"/>
                        <a:pt x="2233" y="1447"/>
                        <a:pt x="2235" y="1438"/>
                      </a:cubicBezTo>
                      <a:cubicBezTo>
                        <a:pt x="2237" y="1429"/>
                        <a:pt x="2246" y="1429"/>
                        <a:pt x="2241" y="1408"/>
                      </a:cubicBezTo>
                      <a:cubicBezTo>
                        <a:pt x="2236" y="1387"/>
                        <a:pt x="2214" y="1334"/>
                        <a:pt x="2207" y="1309"/>
                      </a:cubicBezTo>
                      <a:cubicBezTo>
                        <a:pt x="2200" y="1284"/>
                        <a:pt x="2198" y="1272"/>
                        <a:pt x="2199" y="1258"/>
                      </a:cubicBezTo>
                      <a:cubicBezTo>
                        <a:pt x="2200" y="1244"/>
                        <a:pt x="2222" y="1231"/>
                        <a:pt x="2214" y="1225"/>
                      </a:cubicBezTo>
                      <a:cubicBezTo>
                        <a:pt x="2206" y="1219"/>
                        <a:pt x="2166" y="1225"/>
                        <a:pt x="2148" y="1225"/>
                      </a:cubicBezTo>
                      <a:cubicBezTo>
                        <a:pt x="2130" y="1225"/>
                        <a:pt x="2125" y="1230"/>
                        <a:pt x="2106" y="1228"/>
                      </a:cubicBezTo>
                      <a:cubicBezTo>
                        <a:pt x="2087" y="1226"/>
                        <a:pt x="2052" y="1221"/>
                        <a:pt x="2031" y="1213"/>
                      </a:cubicBezTo>
                      <a:cubicBezTo>
                        <a:pt x="2010" y="1205"/>
                        <a:pt x="1990" y="1191"/>
                        <a:pt x="1977" y="1177"/>
                      </a:cubicBezTo>
                      <a:cubicBezTo>
                        <a:pt x="1964" y="1163"/>
                        <a:pt x="1957" y="1145"/>
                        <a:pt x="1950" y="1126"/>
                      </a:cubicBezTo>
                      <a:cubicBezTo>
                        <a:pt x="1943" y="1107"/>
                        <a:pt x="1939" y="1081"/>
                        <a:pt x="1937" y="1064"/>
                      </a:cubicBezTo>
                      <a:cubicBezTo>
                        <a:pt x="1935" y="1047"/>
                        <a:pt x="1941" y="1037"/>
                        <a:pt x="1939" y="1024"/>
                      </a:cubicBezTo>
                      <a:cubicBezTo>
                        <a:pt x="1937" y="1011"/>
                        <a:pt x="1930" y="995"/>
                        <a:pt x="1923" y="985"/>
                      </a:cubicBezTo>
                      <a:cubicBezTo>
                        <a:pt x="1916" y="975"/>
                        <a:pt x="1905" y="969"/>
                        <a:pt x="1896" y="964"/>
                      </a:cubicBezTo>
                      <a:cubicBezTo>
                        <a:pt x="1887" y="959"/>
                        <a:pt x="1875" y="962"/>
                        <a:pt x="1866" y="952"/>
                      </a:cubicBezTo>
                      <a:cubicBezTo>
                        <a:pt x="1857" y="942"/>
                        <a:pt x="1843" y="917"/>
                        <a:pt x="1839" y="901"/>
                      </a:cubicBezTo>
                      <a:cubicBezTo>
                        <a:pt x="1835" y="885"/>
                        <a:pt x="1836" y="868"/>
                        <a:pt x="1839" y="853"/>
                      </a:cubicBezTo>
                      <a:cubicBezTo>
                        <a:pt x="1842" y="838"/>
                        <a:pt x="1852" y="820"/>
                        <a:pt x="1860" y="811"/>
                      </a:cubicBezTo>
                      <a:cubicBezTo>
                        <a:pt x="1868" y="802"/>
                        <a:pt x="1888" y="807"/>
                        <a:pt x="1884" y="799"/>
                      </a:cubicBezTo>
                      <a:cubicBezTo>
                        <a:pt x="1880" y="791"/>
                        <a:pt x="1853" y="776"/>
                        <a:pt x="1836" y="763"/>
                      </a:cubicBezTo>
                      <a:cubicBezTo>
                        <a:pt x="1819" y="750"/>
                        <a:pt x="1800" y="737"/>
                        <a:pt x="1784" y="723"/>
                      </a:cubicBezTo>
                      <a:cubicBezTo>
                        <a:pt x="1768" y="709"/>
                        <a:pt x="1748" y="698"/>
                        <a:pt x="1740" y="680"/>
                      </a:cubicBezTo>
                      <a:cubicBezTo>
                        <a:pt x="1733" y="661"/>
                        <a:pt x="1733" y="629"/>
                        <a:pt x="1738" y="611"/>
                      </a:cubicBezTo>
                      <a:cubicBezTo>
                        <a:pt x="1743" y="593"/>
                        <a:pt x="1763" y="588"/>
                        <a:pt x="1773" y="571"/>
                      </a:cubicBezTo>
                      <a:cubicBezTo>
                        <a:pt x="1783" y="554"/>
                        <a:pt x="1780" y="518"/>
                        <a:pt x="1797" y="508"/>
                      </a:cubicBezTo>
                      <a:cubicBezTo>
                        <a:pt x="1814" y="498"/>
                        <a:pt x="1855" y="508"/>
                        <a:pt x="1878" y="508"/>
                      </a:cubicBezTo>
                      <a:cubicBezTo>
                        <a:pt x="1901" y="508"/>
                        <a:pt x="1915" y="511"/>
                        <a:pt x="1938" y="508"/>
                      </a:cubicBezTo>
                      <a:cubicBezTo>
                        <a:pt x="1961" y="505"/>
                        <a:pt x="1990" y="497"/>
                        <a:pt x="2016" y="490"/>
                      </a:cubicBezTo>
                      <a:cubicBezTo>
                        <a:pt x="2042" y="483"/>
                        <a:pt x="2070" y="475"/>
                        <a:pt x="2091" y="466"/>
                      </a:cubicBezTo>
                      <a:cubicBezTo>
                        <a:pt x="2112" y="457"/>
                        <a:pt x="2128" y="445"/>
                        <a:pt x="2139" y="436"/>
                      </a:cubicBezTo>
                      <a:cubicBezTo>
                        <a:pt x="2150" y="427"/>
                        <a:pt x="2154" y="422"/>
                        <a:pt x="2157" y="412"/>
                      </a:cubicBezTo>
                      <a:cubicBezTo>
                        <a:pt x="2160" y="402"/>
                        <a:pt x="2162" y="386"/>
                        <a:pt x="2157" y="376"/>
                      </a:cubicBezTo>
                      <a:cubicBezTo>
                        <a:pt x="2152" y="366"/>
                        <a:pt x="2135" y="360"/>
                        <a:pt x="2127" y="352"/>
                      </a:cubicBezTo>
                      <a:cubicBezTo>
                        <a:pt x="2119" y="344"/>
                        <a:pt x="2113" y="324"/>
                        <a:pt x="2106" y="325"/>
                      </a:cubicBezTo>
                      <a:cubicBezTo>
                        <a:pt x="2099" y="326"/>
                        <a:pt x="2091" y="350"/>
                        <a:pt x="2085" y="361"/>
                      </a:cubicBezTo>
                      <a:cubicBezTo>
                        <a:pt x="2079" y="372"/>
                        <a:pt x="2074" y="384"/>
                        <a:pt x="2067" y="394"/>
                      </a:cubicBezTo>
                      <a:cubicBezTo>
                        <a:pt x="2060" y="404"/>
                        <a:pt x="2052" y="413"/>
                        <a:pt x="2043" y="421"/>
                      </a:cubicBezTo>
                      <a:cubicBezTo>
                        <a:pt x="2034" y="429"/>
                        <a:pt x="2022" y="437"/>
                        <a:pt x="2010" y="445"/>
                      </a:cubicBezTo>
                      <a:cubicBezTo>
                        <a:pt x="1998" y="453"/>
                        <a:pt x="1986" y="468"/>
                        <a:pt x="1974" y="472"/>
                      </a:cubicBezTo>
                      <a:cubicBezTo>
                        <a:pt x="1962" y="476"/>
                        <a:pt x="1945" y="476"/>
                        <a:pt x="1935" y="469"/>
                      </a:cubicBezTo>
                      <a:cubicBezTo>
                        <a:pt x="1925" y="462"/>
                        <a:pt x="1921" y="442"/>
                        <a:pt x="1914" y="427"/>
                      </a:cubicBezTo>
                      <a:cubicBezTo>
                        <a:pt x="1907" y="412"/>
                        <a:pt x="1900" y="390"/>
                        <a:pt x="1893" y="376"/>
                      </a:cubicBezTo>
                      <a:cubicBezTo>
                        <a:pt x="1886" y="362"/>
                        <a:pt x="1879" y="351"/>
                        <a:pt x="1872" y="343"/>
                      </a:cubicBezTo>
                      <a:cubicBezTo>
                        <a:pt x="1865" y="335"/>
                        <a:pt x="1856" y="329"/>
                        <a:pt x="1848" y="328"/>
                      </a:cubicBezTo>
                      <a:cubicBezTo>
                        <a:pt x="1840" y="327"/>
                        <a:pt x="1829" y="334"/>
                        <a:pt x="1821" y="337"/>
                      </a:cubicBezTo>
                      <a:cubicBezTo>
                        <a:pt x="1813" y="340"/>
                        <a:pt x="1807" y="343"/>
                        <a:pt x="1797" y="346"/>
                      </a:cubicBezTo>
                      <a:cubicBezTo>
                        <a:pt x="1787" y="349"/>
                        <a:pt x="1772" y="351"/>
                        <a:pt x="1761" y="352"/>
                      </a:cubicBezTo>
                      <a:cubicBezTo>
                        <a:pt x="1750" y="353"/>
                        <a:pt x="1738" y="359"/>
                        <a:pt x="1728" y="352"/>
                      </a:cubicBezTo>
                      <a:cubicBezTo>
                        <a:pt x="1718" y="345"/>
                        <a:pt x="1711" y="319"/>
                        <a:pt x="1698" y="307"/>
                      </a:cubicBezTo>
                      <a:cubicBezTo>
                        <a:pt x="1685" y="295"/>
                        <a:pt x="1668" y="287"/>
                        <a:pt x="1653" y="280"/>
                      </a:cubicBezTo>
                      <a:cubicBezTo>
                        <a:pt x="1638" y="273"/>
                        <a:pt x="1626" y="266"/>
                        <a:pt x="1608" y="262"/>
                      </a:cubicBezTo>
                      <a:cubicBezTo>
                        <a:pt x="1590" y="258"/>
                        <a:pt x="1560" y="259"/>
                        <a:pt x="1542" y="253"/>
                      </a:cubicBezTo>
                      <a:cubicBezTo>
                        <a:pt x="1524" y="247"/>
                        <a:pt x="1514" y="228"/>
                        <a:pt x="1500" y="226"/>
                      </a:cubicBezTo>
                      <a:cubicBezTo>
                        <a:pt x="1486" y="224"/>
                        <a:pt x="1466" y="235"/>
                        <a:pt x="1455" y="238"/>
                      </a:cubicBezTo>
                      <a:cubicBezTo>
                        <a:pt x="1444" y="241"/>
                        <a:pt x="1433" y="246"/>
                        <a:pt x="1431" y="244"/>
                      </a:cubicBezTo>
                      <a:cubicBezTo>
                        <a:pt x="1429" y="242"/>
                        <a:pt x="1439" y="232"/>
                        <a:pt x="1440" y="223"/>
                      </a:cubicBezTo>
                      <a:cubicBezTo>
                        <a:pt x="1441" y="214"/>
                        <a:pt x="1440" y="200"/>
                        <a:pt x="1440" y="190"/>
                      </a:cubicBezTo>
                      <a:cubicBezTo>
                        <a:pt x="1440" y="180"/>
                        <a:pt x="1440" y="170"/>
                        <a:pt x="1437" y="163"/>
                      </a:cubicBezTo>
                      <a:cubicBezTo>
                        <a:pt x="1434" y="156"/>
                        <a:pt x="1425" y="150"/>
                        <a:pt x="1419" y="145"/>
                      </a:cubicBezTo>
                      <a:cubicBezTo>
                        <a:pt x="1413" y="140"/>
                        <a:pt x="1408" y="135"/>
                        <a:pt x="1401" y="130"/>
                      </a:cubicBezTo>
                      <a:cubicBezTo>
                        <a:pt x="1394" y="125"/>
                        <a:pt x="1389" y="120"/>
                        <a:pt x="1377" y="115"/>
                      </a:cubicBezTo>
                      <a:cubicBezTo>
                        <a:pt x="1365" y="110"/>
                        <a:pt x="1341" y="106"/>
                        <a:pt x="1329" y="100"/>
                      </a:cubicBezTo>
                      <a:cubicBezTo>
                        <a:pt x="1317" y="94"/>
                        <a:pt x="1312" y="85"/>
                        <a:pt x="1305" y="79"/>
                      </a:cubicBezTo>
                      <a:cubicBezTo>
                        <a:pt x="1298" y="73"/>
                        <a:pt x="1293" y="68"/>
                        <a:pt x="1287" y="61"/>
                      </a:cubicBezTo>
                      <a:cubicBezTo>
                        <a:pt x="1281" y="54"/>
                        <a:pt x="1274" y="42"/>
                        <a:pt x="1266" y="34"/>
                      </a:cubicBezTo>
                      <a:cubicBezTo>
                        <a:pt x="1258" y="26"/>
                        <a:pt x="1246" y="15"/>
                        <a:pt x="1236" y="10"/>
                      </a:cubicBezTo>
                      <a:cubicBezTo>
                        <a:pt x="1226" y="5"/>
                        <a:pt x="1208" y="0"/>
                        <a:pt x="1206" y="4"/>
                      </a:cubicBezTo>
                      <a:cubicBezTo>
                        <a:pt x="1204" y="8"/>
                        <a:pt x="1219" y="27"/>
                        <a:pt x="1221" y="37"/>
                      </a:cubicBezTo>
                      <a:cubicBezTo>
                        <a:pt x="1223" y="47"/>
                        <a:pt x="1226" y="56"/>
                        <a:pt x="1221" y="67"/>
                      </a:cubicBezTo>
                      <a:cubicBezTo>
                        <a:pt x="1216" y="78"/>
                        <a:pt x="1198" y="92"/>
                        <a:pt x="1188" y="103"/>
                      </a:cubicBezTo>
                      <a:cubicBezTo>
                        <a:pt x="1178" y="114"/>
                        <a:pt x="1168" y="119"/>
                        <a:pt x="1161" y="133"/>
                      </a:cubicBezTo>
                      <a:cubicBezTo>
                        <a:pt x="1154" y="147"/>
                        <a:pt x="1156" y="165"/>
                        <a:pt x="1146" y="187"/>
                      </a:cubicBezTo>
                      <a:cubicBezTo>
                        <a:pt x="1136" y="209"/>
                        <a:pt x="1115" y="238"/>
                        <a:pt x="1101" y="265"/>
                      </a:cubicBezTo>
                      <a:cubicBezTo>
                        <a:pt x="1087" y="292"/>
                        <a:pt x="1075" y="320"/>
                        <a:pt x="1062" y="352"/>
                      </a:cubicBezTo>
                      <a:cubicBezTo>
                        <a:pt x="1049" y="384"/>
                        <a:pt x="1033" y="432"/>
                        <a:pt x="1023" y="457"/>
                      </a:cubicBezTo>
                      <a:cubicBezTo>
                        <a:pt x="1013" y="482"/>
                        <a:pt x="1004" y="495"/>
                        <a:pt x="999" y="505"/>
                      </a:cubicBezTo>
                      <a:close/>
                    </a:path>
                  </a:pathLst>
                </a:custGeom>
                <a:solidFill>
                  <a:srgbClr val="CCFFFF">
                    <a:alpha val="59999"/>
                  </a:srgbClr>
                </a:solidFill>
                <a:ln w="9525">
                  <a:solidFill>
                    <a:srgbClr val="666699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</p:grpSp>
          <p:grpSp>
            <p:nvGrpSpPr>
              <p:cNvPr id="4128" name="Group 13"/>
              <p:cNvGrpSpPr>
                <a:grpSpLocks/>
              </p:cNvGrpSpPr>
              <p:nvPr/>
            </p:nvGrpSpPr>
            <p:grpSpPr bwMode="auto">
              <a:xfrm>
                <a:off x="5263" y="7096"/>
                <a:ext cx="3528" cy="3440"/>
                <a:chOff x="5263" y="7096"/>
                <a:chExt cx="3528" cy="3440"/>
              </a:xfrm>
            </p:grpSpPr>
            <p:sp>
              <p:nvSpPr>
                <p:cNvPr id="4133" name="Freeform 14"/>
                <p:cNvSpPr>
                  <a:spLocks/>
                </p:cNvSpPr>
                <p:nvPr/>
              </p:nvSpPr>
              <p:spPr bwMode="auto">
                <a:xfrm>
                  <a:off x="6103" y="7621"/>
                  <a:ext cx="2688" cy="2915"/>
                </a:xfrm>
                <a:custGeom>
                  <a:avLst/>
                  <a:gdLst>
                    <a:gd name="T0" fmla="*/ 239 w 2688"/>
                    <a:gd name="T1" fmla="*/ 1082 h 2915"/>
                    <a:gd name="T2" fmla="*/ 107 w 2688"/>
                    <a:gd name="T3" fmla="*/ 1241 h 2915"/>
                    <a:gd name="T4" fmla="*/ 119 w 2688"/>
                    <a:gd name="T5" fmla="*/ 1379 h 2915"/>
                    <a:gd name="T6" fmla="*/ 97 w 2688"/>
                    <a:gd name="T7" fmla="*/ 1529 h 2915"/>
                    <a:gd name="T8" fmla="*/ 3 w 2688"/>
                    <a:gd name="T9" fmla="*/ 1571 h 2915"/>
                    <a:gd name="T10" fmla="*/ 104 w 2688"/>
                    <a:gd name="T11" fmla="*/ 1576 h 2915"/>
                    <a:gd name="T12" fmla="*/ 307 w 2688"/>
                    <a:gd name="T13" fmla="*/ 1542 h 2915"/>
                    <a:gd name="T14" fmla="*/ 575 w 2688"/>
                    <a:gd name="T15" fmla="*/ 1532 h 2915"/>
                    <a:gd name="T16" fmla="*/ 754 w 2688"/>
                    <a:gd name="T17" fmla="*/ 1690 h 2915"/>
                    <a:gd name="T18" fmla="*/ 846 w 2688"/>
                    <a:gd name="T19" fmla="*/ 1876 h 2915"/>
                    <a:gd name="T20" fmla="*/ 702 w 2688"/>
                    <a:gd name="T21" fmla="*/ 1966 h 2915"/>
                    <a:gd name="T22" fmla="*/ 629 w 2688"/>
                    <a:gd name="T23" fmla="*/ 2115 h 2915"/>
                    <a:gd name="T24" fmla="*/ 489 w 2688"/>
                    <a:gd name="T25" fmla="*/ 2175 h 2915"/>
                    <a:gd name="T26" fmla="*/ 523 w 2688"/>
                    <a:gd name="T27" fmla="*/ 2309 h 2915"/>
                    <a:gd name="T28" fmla="*/ 719 w 2688"/>
                    <a:gd name="T29" fmla="*/ 2199 h 2915"/>
                    <a:gd name="T30" fmla="*/ 785 w 2688"/>
                    <a:gd name="T31" fmla="*/ 2281 h 2915"/>
                    <a:gd name="T32" fmla="*/ 894 w 2688"/>
                    <a:gd name="T33" fmla="*/ 2175 h 2915"/>
                    <a:gd name="T34" fmla="*/ 1163 w 2688"/>
                    <a:gd name="T35" fmla="*/ 2087 h 2915"/>
                    <a:gd name="T36" fmla="*/ 1307 w 2688"/>
                    <a:gd name="T37" fmla="*/ 2309 h 2915"/>
                    <a:gd name="T38" fmla="*/ 1340 w 2688"/>
                    <a:gd name="T39" fmla="*/ 2537 h 2915"/>
                    <a:gd name="T40" fmla="*/ 1300 w 2688"/>
                    <a:gd name="T41" fmla="*/ 2742 h 2915"/>
                    <a:gd name="T42" fmla="*/ 1420 w 2688"/>
                    <a:gd name="T43" fmla="*/ 2914 h 2915"/>
                    <a:gd name="T44" fmla="*/ 1637 w 2688"/>
                    <a:gd name="T45" fmla="*/ 2842 h 2915"/>
                    <a:gd name="T46" fmla="*/ 1726 w 2688"/>
                    <a:gd name="T47" fmla="*/ 2732 h 2915"/>
                    <a:gd name="T48" fmla="*/ 1685 w 2688"/>
                    <a:gd name="T49" fmla="*/ 2518 h 2915"/>
                    <a:gd name="T50" fmla="*/ 1850 w 2688"/>
                    <a:gd name="T51" fmla="*/ 2419 h 2915"/>
                    <a:gd name="T52" fmla="*/ 2054 w 2688"/>
                    <a:gd name="T53" fmla="*/ 2291 h 2915"/>
                    <a:gd name="T54" fmla="*/ 2296 w 2688"/>
                    <a:gd name="T55" fmla="*/ 2188 h 2915"/>
                    <a:gd name="T56" fmla="*/ 2612 w 2688"/>
                    <a:gd name="T57" fmla="*/ 2023 h 2915"/>
                    <a:gd name="T58" fmla="*/ 2626 w 2688"/>
                    <a:gd name="T59" fmla="*/ 1882 h 2915"/>
                    <a:gd name="T60" fmla="*/ 2485 w 2688"/>
                    <a:gd name="T61" fmla="*/ 1697 h 2915"/>
                    <a:gd name="T62" fmla="*/ 2313 w 2688"/>
                    <a:gd name="T63" fmla="*/ 1484 h 2915"/>
                    <a:gd name="T64" fmla="*/ 2001 w 2688"/>
                    <a:gd name="T65" fmla="*/ 1408 h 2915"/>
                    <a:gd name="T66" fmla="*/ 1839 w 2688"/>
                    <a:gd name="T67" fmla="*/ 1370 h 2915"/>
                    <a:gd name="T68" fmla="*/ 1386 w 2688"/>
                    <a:gd name="T69" fmla="*/ 1466 h 2915"/>
                    <a:gd name="T70" fmla="*/ 1276 w 2688"/>
                    <a:gd name="T71" fmla="*/ 1329 h 2915"/>
                    <a:gd name="T72" fmla="*/ 1221 w 2688"/>
                    <a:gd name="T73" fmla="*/ 906 h 2915"/>
                    <a:gd name="T74" fmla="*/ 1182 w 2688"/>
                    <a:gd name="T75" fmla="*/ 715 h 2915"/>
                    <a:gd name="T76" fmla="*/ 1087 w 2688"/>
                    <a:gd name="T77" fmla="*/ 648 h 2915"/>
                    <a:gd name="T78" fmla="*/ 1085 w 2688"/>
                    <a:gd name="T79" fmla="*/ 443 h 2915"/>
                    <a:gd name="T80" fmla="*/ 1156 w 2688"/>
                    <a:gd name="T81" fmla="*/ 346 h 2915"/>
                    <a:gd name="T82" fmla="*/ 919 w 2688"/>
                    <a:gd name="T83" fmla="*/ 232 h 2915"/>
                    <a:gd name="T84" fmla="*/ 994 w 2688"/>
                    <a:gd name="T85" fmla="*/ 88 h 2915"/>
                    <a:gd name="T86" fmla="*/ 944 w 2688"/>
                    <a:gd name="T87" fmla="*/ 17 h 2915"/>
                    <a:gd name="T88" fmla="*/ 764 w 2688"/>
                    <a:gd name="T89" fmla="*/ 140 h 2915"/>
                    <a:gd name="T90" fmla="*/ 644 w 2688"/>
                    <a:gd name="T91" fmla="*/ 305 h 2915"/>
                    <a:gd name="T92" fmla="*/ 503 w 2688"/>
                    <a:gd name="T93" fmla="*/ 470 h 2915"/>
                    <a:gd name="T94" fmla="*/ 440 w 2688"/>
                    <a:gd name="T95" fmla="*/ 623 h 2915"/>
                    <a:gd name="T96" fmla="*/ 395 w 2688"/>
                    <a:gd name="T97" fmla="*/ 764 h 2915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w 2688"/>
                    <a:gd name="T148" fmla="*/ 0 h 2915"/>
                    <a:gd name="T149" fmla="*/ 2688 w 2688"/>
                    <a:gd name="T150" fmla="*/ 2915 h 2915"/>
                  </a:gdLst>
                  <a:ahLst/>
                  <a:cxnLst>
                    <a:cxn ang="T98">
                      <a:pos x="T0" y="T1"/>
                    </a:cxn>
                    <a:cxn ang="T99">
                      <a:pos x="T2" y="T3"/>
                    </a:cxn>
                    <a:cxn ang="T100">
                      <a:pos x="T4" y="T5"/>
                    </a:cxn>
                    <a:cxn ang="T101">
                      <a:pos x="T6" y="T7"/>
                    </a:cxn>
                    <a:cxn ang="T102">
                      <a:pos x="T8" y="T9"/>
                    </a:cxn>
                    <a:cxn ang="T103">
                      <a:pos x="T10" y="T11"/>
                    </a:cxn>
                    <a:cxn ang="T104">
                      <a:pos x="T12" y="T13"/>
                    </a:cxn>
                    <a:cxn ang="T105">
                      <a:pos x="T14" y="T15"/>
                    </a:cxn>
                    <a:cxn ang="T106">
                      <a:pos x="T16" y="T17"/>
                    </a:cxn>
                    <a:cxn ang="T107">
                      <a:pos x="T18" y="T19"/>
                    </a:cxn>
                    <a:cxn ang="T108">
                      <a:pos x="T20" y="T21"/>
                    </a:cxn>
                    <a:cxn ang="T109">
                      <a:pos x="T22" y="T23"/>
                    </a:cxn>
                    <a:cxn ang="T110">
                      <a:pos x="T24" y="T25"/>
                    </a:cxn>
                    <a:cxn ang="T111">
                      <a:pos x="T26" y="T27"/>
                    </a:cxn>
                    <a:cxn ang="T112">
                      <a:pos x="T28" y="T29"/>
                    </a:cxn>
                    <a:cxn ang="T113">
                      <a:pos x="T30" y="T31"/>
                    </a:cxn>
                    <a:cxn ang="T114">
                      <a:pos x="T32" y="T33"/>
                    </a:cxn>
                    <a:cxn ang="T115">
                      <a:pos x="T34" y="T35"/>
                    </a:cxn>
                    <a:cxn ang="T116">
                      <a:pos x="T36" y="T37"/>
                    </a:cxn>
                    <a:cxn ang="T117">
                      <a:pos x="T38" y="T39"/>
                    </a:cxn>
                    <a:cxn ang="T118">
                      <a:pos x="T40" y="T41"/>
                    </a:cxn>
                    <a:cxn ang="T119">
                      <a:pos x="T42" y="T43"/>
                    </a:cxn>
                    <a:cxn ang="T120">
                      <a:pos x="T44" y="T45"/>
                    </a:cxn>
                    <a:cxn ang="T121">
                      <a:pos x="T46" y="T47"/>
                    </a:cxn>
                    <a:cxn ang="T122">
                      <a:pos x="T48" y="T49"/>
                    </a:cxn>
                    <a:cxn ang="T123">
                      <a:pos x="T50" y="T51"/>
                    </a:cxn>
                    <a:cxn ang="T124">
                      <a:pos x="T52" y="T53"/>
                    </a:cxn>
                    <a:cxn ang="T125">
                      <a:pos x="T54" y="T55"/>
                    </a:cxn>
                    <a:cxn ang="T126">
                      <a:pos x="T56" y="T57"/>
                    </a:cxn>
                    <a:cxn ang="T127">
                      <a:pos x="T58" y="T59"/>
                    </a:cxn>
                    <a:cxn ang="T128">
                      <a:pos x="T60" y="T61"/>
                    </a:cxn>
                    <a:cxn ang="T129">
                      <a:pos x="T62" y="T63"/>
                    </a:cxn>
                    <a:cxn ang="T130">
                      <a:pos x="T64" y="T65"/>
                    </a:cxn>
                    <a:cxn ang="T131">
                      <a:pos x="T66" y="T67"/>
                    </a:cxn>
                    <a:cxn ang="T132">
                      <a:pos x="T68" y="T69"/>
                    </a:cxn>
                    <a:cxn ang="T133">
                      <a:pos x="T70" y="T71"/>
                    </a:cxn>
                    <a:cxn ang="T134">
                      <a:pos x="T72" y="T73"/>
                    </a:cxn>
                    <a:cxn ang="T135">
                      <a:pos x="T74" y="T75"/>
                    </a:cxn>
                    <a:cxn ang="T136">
                      <a:pos x="T76" y="T77"/>
                    </a:cxn>
                    <a:cxn ang="T137">
                      <a:pos x="T78" y="T79"/>
                    </a:cxn>
                    <a:cxn ang="T138">
                      <a:pos x="T80" y="T81"/>
                    </a:cxn>
                    <a:cxn ang="T139">
                      <a:pos x="T82" y="T83"/>
                    </a:cxn>
                    <a:cxn ang="T140">
                      <a:pos x="T84" y="T85"/>
                    </a:cxn>
                    <a:cxn ang="T141">
                      <a:pos x="T86" y="T87"/>
                    </a:cxn>
                    <a:cxn ang="T142">
                      <a:pos x="T88" y="T89"/>
                    </a:cxn>
                    <a:cxn ang="T143">
                      <a:pos x="T90" y="T91"/>
                    </a:cxn>
                    <a:cxn ang="T144">
                      <a:pos x="T92" y="T93"/>
                    </a:cxn>
                    <a:cxn ang="T145">
                      <a:pos x="T94" y="T95"/>
                    </a:cxn>
                    <a:cxn ang="T146">
                      <a:pos x="T96" y="T97"/>
                    </a:cxn>
                  </a:cxnLst>
                  <a:rect l="T147" t="T148" r="T149" b="T150"/>
                  <a:pathLst>
                    <a:path w="2688" h="2915">
                      <a:moveTo>
                        <a:pt x="326" y="869"/>
                      </a:moveTo>
                      <a:cubicBezTo>
                        <a:pt x="318" y="889"/>
                        <a:pt x="332" y="923"/>
                        <a:pt x="323" y="947"/>
                      </a:cubicBezTo>
                      <a:cubicBezTo>
                        <a:pt x="314" y="971"/>
                        <a:pt x="286" y="991"/>
                        <a:pt x="272" y="1013"/>
                      </a:cubicBezTo>
                      <a:cubicBezTo>
                        <a:pt x="258" y="1035"/>
                        <a:pt x="254" y="1063"/>
                        <a:pt x="239" y="1082"/>
                      </a:cubicBezTo>
                      <a:cubicBezTo>
                        <a:pt x="224" y="1101"/>
                        <a:pt x="199" y="1116"/>
                        <a:pt x="182" y="1130"/>
                      </a:cubicBezTo>
                      <a:cubicBezTo>
                        <a:pt x="165" y="1144"/>
                        <a:pt x="147" y="1156"/>
                        <a:pt x="134" y="1166"/>
                      </a:cubicBezTo>
                      <a:cubicBezTo>
                        <a:pt x="121" y="1176"/>
                        <a:pt x="108" y="1181"/>
                        <a:pt x="104" y="1193"/>
                      </a:cubicBezTo>
                      <a:cubicBezTo>
                        <a:pt x="100" y="1205"/>
                        <a:pt x="107" y="1228"/>
                        <a:pt x="107" y="1241"/>
                      </a:cubicBezTo>
                      <a:cubicBezTo>
                        <a:pt x="107" y="1254"/>
                        <a:pt x="107" y="1262"/>
                        <a:pt x="107" y="1274"/>
                      </a:cubicBezTo>
                      <a:cubicBezTo>
                        <a:pt x="107" y="1286"/>
                        <a:pt x="109" y="1303"/>
                        <a:pt x="110" y="1316"/>
                      </a:cubicBezTo>
                      <a:cubicBezTo>
                        <a:pt x="111" y="1329"/>
                        <a:pt x="112" y="1345"/>
                        <a:pt x="113" y="1355"/>
                      </a:cubicBezTo>
                      <a:cubicBezTo>
                        <a:pt x="114" y="1365"/>
                        <a:pt x="117" y="1370"/>
                        <a:pt x="119" y="1379"/>
                      </a:cubicBezTo>
                      <a:cubicBezTo>
                        <a:pt x="121" y="1388"/>
                        <a:pt x="124" y="1401"/>
                        <a:pt x="125" y="1411"/>
                      </a:cubicBezTo>
                      <a:cubicBezTo>
                        <a:pt x="126" y="1421"/>
                        <a:pt x="131" y="1431"/>
                        <a:pt x="128" y="1442"/>
                      </a:cubicBezTo>
                      <a:cubicBezTo>
                        <a:pt x="126" y="1454"/>
                        <a:pt x="116" y="1470"/>
                        <a:pt x="111" y="1484"/>
                      </a:cubicBezTo>
                      <a:cubicBezTo>
                        <a:pt x="107" y="1497"/>
                        <a:pt x="101" y="1518"/>
                        <a:pt x="97" y="1529"/>
                      </a:cubicBezTo>
                      <a:cubicBezTo>
                        <a:pt x="94" y="1541"/>
                        <a:pt x="98" y="1547"/>
                        <a:pt x="94" y="1552"/>
                      </a:cubicBezTo>
                      <a:cubicBezTo>
                        <a:pt x="89" y="1558"/>
                        <a:pt x="76" y="1565"/>
                        <a:pt x="66" y="1566"/>
                      </a:cubicBezTo>
                      <a:cubicBezTo>
                        <a:pt x="57" y="1567"/>
                        <a:pt x="46" y="1562"/>
                        <a:pt x="36" y="1563"/>
                      </a:cubicBezTo>
                      <a:cubicBezTo>
                        <a:pt x="25" y="1564"/>
                        <a:pt x="7" y="1567"/>
                        <a:pt x="3" y="1571"/>
                      </a:cubicBezTo>
                      <a:cubicBezTo>
                        <a:pt x="0" y="1574"/>
                        <a:pt x="9" y="1580"/>
                        <a:pt x="15" y="1580"/>
                      </a:cubicBezTo>
                      <a:cubicBezTo>
                        <a:pt x="21" y="1580"/>
                        <a:pt x="24" y="1574"/>
                        <a:pt x="36" y="1573"/>
                      </a:cubicBezTo>
                      <a:cubicBezTo>
                        <a:pt x="47" y="1572"/>
                        <a:pt x="76" y="1572"/>
                        <a:pt x="87" y="1573"/>
                      </a:cubicBezTo>
                      <a:cubicBezTo>
                        <a:pt x="98" y="1574"/>
                        <a:pt x="95" y="1573"/>
                        <a:pt x="104" y="1576"/>
                      </a:cubicBezTo>
                      <a:cubicBezTo>
                        <a:pt x="113" y="1580"/>
                        <a:pt x="129" y="1589"/>
                        <a:pt x="145" y="1594"/>
                      </a:cubicBezTo>
                      <a:cubicBezTo>
                        <a:pt x="161" y="1598"/>
                        <a:pt x="184" y="1606"/>
                        <a:pt x="200" y="1604"/>
                      </a:cubicBezTo>
                      <a:cubicBezTo>
                        <a:pt x="216" y="1602"/>
                        <a:pt x="228" y="1587"/>
                        <a:pt x="245" y="1576"/>
                      </a:cubicBezTo>
                      <a:cubicBezTo>
                        <a:pt x="262" y="1566"/>
                        <a:pt x="285" y="1555"/>
                        <a:pt x="307" y="1542"/>
                      </a:cubicBezTo>
                      <a:cubicBezTo>
                        <a:pt x="329" y="1529"/>
                        <a:pt x="352" y="1510"/>
                        <a:pt x="372" y="1501"/>
                      </a:cubicBezTo>
                      <a:cubicBezTo>
                        <a:pt x="393" y="1492"/>
                        <a:pt x="409" y="1485"/>
                        <a:pt x="434" y="1487"/>
                      </a:cubicBezTo>
                      <a:cubicBezTo>
                        <a:pt x="459" y="1489"/>
                        <a:pt x="500" y="1508"/>
                        <a:pt x="523" y="1515"/>
                      </a:cubicBezTo>
                      <a:cubicBezTo>
                        <a:pt x="546" y="1521"/>
                        <a:pt x="555" y="1526"/>
                        <a:pt x="575" y="1532"/>
                      </a:cubicBezTo>
                      <a:cubicBezTo>
                        <a:pt x="594" y="1537"/>
                        <a:pt x="630" y="1543"/>
                        <a:pt x="644" y="1550"/>
                      </a:cubicBezTo>
                      <a:cubicBezTo>
                        <a:pt x="657" y="1557"/>
                        <a:pt x="644" y="1558"/>
                        <a:pt x="654" y="1573"/>
                      </a:cubicBezTo>
                      <a:cubicBezTo>
                        <a:pt x="664" y="1588"/>
                        <a:pt x="689" y="1619"/>
                        <a:pt x="705" y="1638"/>
                      </a:cubicBezTo>
                      <a:cubicBezTo>
                        <a:pt x="722" y="1658"/>
                        <a:pt x="739" y="1677"/>
                        <a:pt x="754" y="1690"/>
                      </a:cubicBezTo>
                      <a:cubicBezTo>
                        <a:pt x="768" y="1703"/>
                        <a:pt x="779" y="1697"/>
                        <a:pt x="791" y="1711"/>
                      </a:cubicBezTo>
                      <a:cubicBezTo>
                        <a:pt x="804" y="1724"/>
                        <a:pt x="820" y="1750"/>
                        <a:pt x="831" y="1772"/>
                      </a:cubicBezTo>
                      <a:cubicBezTo>
                        <a:pt x="843" y="1795"/>
                        <a:pt x="861" y="1829"/>
                        <a:pt x="864" y="1846"/>
                      </a:cubicBezTo>
                      <a:cubicBezTo>
                        <a:pt x="866" y="1863"/>
                        <a:pt x="857" y="1870"/>
                        <a:pt x="846" y="1876"/>
                      </a:cubicBezTo>
                      <a:cubicBezTo>
                        <a:pt x="836" y="1881"/>
                        <a:pt x="814" y="1874"/>
                        <a:pt x="802" y="1879"/>
                      </a:cubicBezTo>
                      <a:cubicBezTo>
                        <a:pt x="789" y="1884"/>
                        <a:pt x="783" y="1890"/>
                        <a:pt x="772" y="1901"/>
                      </a:cubicBezTo>
                      <a:cubicBezTo>
                        <a:pt x="760" y="1911"/>
                        <a:pt x="741" y="1929"/>
                        <a:pt x="730" y="1941"/>
                      </a:cubicBezTo>
                      <a:cubicBezTo>
                        <a:pt x="718" y="1952"/>
                        <a:pt x="712" y="1957"/>
                        <a:pt x="702" y="1966"/>
                      </a:cubicBezTo>
                      <a:cubicBezTo>
                        <a:pt x="692" y="1975"/>
                        <a:pt x="671" y="1982"/>
                        <a:pt x="668" y="1996"/>
                      </a:cubicBezTo>
                      <a:cubicBezTo>
                        <a:pt x="664" y="2010"/>
                        <a:pt x="685" y="2034"/>
                        <a:pt x="681" y="2047"/>
                      </a:cubicBezTo>
                      <a:cubicBezTo>
                        <a:pt x="678" y="2061"/>
                        <a:pt x="653" y="2068"/>
                        <a:pt x="644" y="2080"/>
                      </a:cubicBezTo>
                      <a:cubicBezTo>
                        <a:pt x="634" y="2091"/>
                        <a:pt x="640" y="2109"/>
                        <a:pt x="629" y="2115"/>
                      </a:cubicBezTo>
                      <a:cubicBezTo>
                        <a:pt x="617" y="2121"/>
                        <a:pt x="589" y="2114"/>
                        <a:pt x="575" y="2113"/>
                      </a:cubicBezTo>
                      <a:cubicBezTo>
                        <a:pt x="561" y="2112"/>
                        <a:pt x="554" y="2108"/>
                        <a:pt x="547" y="2109"/>
                      </a:cubicBezTo>
                      <a:cubicBezTo>
                        <a:pt x="541" y="2110"/>
                        <a:pt x="539" y="2110"/>
                        <a:pt x="530" y="2121"/>
                      </a:cubicBezTo>
                      <a:cubicBezTo>
                        <a:pt x="521" y="2131"/>
                        <a:pt x="504" y="2156"/>
                        <a:pt x="489" y="2175"/>
                      </a:cubicBezTo>
                      <a:cubicBezTo>
                        <a:pt x="474" y="2193"/>
                        <a:pt x="455" y="2217"/>
                        <a:pt x="442" y="2232"/>
                      </a:cubicBezTo>
                      <a:cubicBezTo>
                        <a:pt x="429" y="2247"/>
                        <a:pt x="413" y="2255"/>
                        <a:pt x="416" y="2266"/>
                      </a:cubicBezTo>
                      <a:cubicBezTo>
                        <a:pt x="418" y="2278"/>
                        <a:pt x="440" y="2292"/>
                        <a:pt x="458" y="2298"/>
                      </a:cubicBezTo>
                      <a:cubicBezTo>
                        <a:pt x="476" y="2305"/>
                        <a:pt x="506" y="2308"/>
                        <a:pt x="523" y="2309"/>
                      </a:cubicBezTo>
                      <a:cubicBezTo>
                        <a:pt x="541" y="2310"/>
                        <a:pt x="551" y="2309"/>
                        <a:pt x="565" y="2305"/>
                      </a:cubicBezTo>
                      <a:cubicBezTo>
                        <a:pt x="578" y="2302"/>
                        <a:pt x="591" y="2293"/>
                        <a:pt x="606" y="2285"/>
                      </a:cubicBezTo>
                      <a:cubicBezTo>
                        <a:pt x="621" y="2277"/>
                        <a:pt x="634" y="2269"/>
                        <a:pt x="654" y="2254"/>
                      </a:cubicBezTo>
                      <a:cubicBezTo>
                        <a:pt x="673" y="2239"/>
                        <a:pt x="701" y="2207"/>
                        <a:pt x="719" y="2199"/>
                      </a:cubicBezTo>
                      <a:cubicBezTo>
                        <a:pt x="738" y="2191"/>
                        <a:pt x="755" y="2195"/>
                        <a:pt x="764" y="2202"/>
                      </a:cubicBezTo>
                      <a:cubicBezTo>
                        <a:pt x="773" y="2209"/>
                        <a:pt x="774" y="2233"/>
                        <a:pt x="778" y="2243"/>
                      </a:cubicBezTo>
                      <a:cubicBezTo>
                        <a:pt x="781" y="2254"/>
                        <a:pt x="783" y="2258"/>
                        <a:pt x="785" y="2264"/>
                      </a:cubicBezTo>
                      <a:cubicBezTo>
                        <a:pt x="786" y="2270"/>
                        <a:pt x="782" y="2281"/>
                        <a:pt x="785" y="2281"/>
                      </a:cubicBezTo>
                      <a:cubicBezTo>
                        <a:pt x="787" y="2281"/>
                        <a:pt x="796" y="2272"/>
                        <a:pt x="802" y="2268"/>
                      </a:cubicBezTo>
                      <a:cubicBezTo>
                        <a:pt x="807" y="2263"/>
                        <a:pt x="811" y="2262"/>
                        <a:pt x="819" y="2254"/>
                      </a:cubicBezTo>
                      <a:cubicBezTo>
                        <a:pt x="827" y="2246"/>
                        <a:pt x="841" y="2232"/>
                        <a:pt x="853" y="2219"/>
                      </a:cubicBezTo>
                      <a:cubicBezTo>
                        <a:pt x="866" y="2207"/>
                        <a:pt x="877" y="2193"/>
                        <a:pt x="894" y="2175"/>
                      </a:cubicBezTo>
                      <a:cubicBezTo>
                        <a:pt x="912" y="2156"/>
                        <a:pt x="939" y="2128"/>
                        <a:pt x="960" y="2106"/>
                      </a:cubicBezTo>
                      <a:cubicBezTo>
                        <a:pt x="980" y="2084"/>
                        <a:pt x="993" y="2061"/>
                        <a:pt x="1018" y="2047"/>
                      </a:cubicBezTo>
                      <a:cubicBezTo>
                        <a:pt x="1043" y="2034"/>
                        <a:pt x="1087" y="2016"/>
                        <a:pt x="1111" y="2023"/>
                      </a:cubicBezTo>
                      <a:cubicBezTo>
                        <a:pt x="1135" y="2030"/>
                        <a:pt x="1149" y="2063"/>
                        <a:pt x="1163" y="2087"/>
                      </a:cubicBezTo>
                      <a:cubicBezTo>
                        <a:pt x="1177" y="2111"/>
                        <a:pt x="1186" y="2143"/>
                        <a:pt x="1197" y="2164"/>
                      </a:cubicBezTo>
                      <a:cubicBezTo>
                        <a:pt x="1208" y="2185"/>
                        <a:pt x="1217" y="2197"/>
                        <a:pt x="1229" y="2213"/>
                      </a:cubicBezTo>
                      <a:cubicBezTo>
                        <a:pt x="1241" y="2229"/>
                        <a:pt x="1256" y="2245"/>
                        <a:pt x="1269" y="2261"/>
                      </a:cubicBezTo>
                      <a:cubicBezTo>
                        <a:pt x="1282" y="2277"/>
                        <a:pt x="1294" y="2291"/>
                        <a:pt x="1307" y="2309"/>
                      </a:cubicBezTo>
                      <a:cubicBezTo>
                        <a:pt x="1320" y="2327"/>
                        <a:pt x="1337" y="2355"/>
                        <a:pt x="1349" y="2372"/>
                      </a:cubicBezTo>
                      <a:cubicBezTo>
                        <a:pt x="1361" y="2389"/>
                        <a:pt x="1366" y="2385"/>
                        <a:pt x="1376" y="2408"/>
                      </a:cubicBezTo>
                      <a:cubicBezTo>
                        <a:pt x="1386" y="2431"/>
                        <a:pt x="1418" y="2489"/>
                        <a:pt x="1412" y="2510"/>
                      </a:cubicBezTo>
                      <a:cubicBezTo>
                        <a:pt x="1406" y="2531"/>
                        <a:pt x="1360" y="2532"/>
                        <a:pt x="1340" y="2537"/>
                      </a:cubicBezTo>
                      <a:cubicBezTo>
                        <a:pt x="1320" y="2542"/>
                        <a:pt x="1301" y="2532"/>
                        <a:pt x="1293" y="2543"/>
                      </a:cubicBezTo>
                      <a:cubicBezTo>
                        <a:pt x="1285" y="2554"/>
                        <a:pt x="1292" y="2582"/>
                        <a:pt x="1293" y="2604"/>
                      </a:cubicBezTo>
                      <a:cubicBezTo>
                        <a:pt x="1294" y="2627"/>
                        <a:pt x="1295" y="2657"/>
                        <a:pt x="1296" y="2680"/>
                      </a:cubicBezTo>
                      <a:cubicBezTo>
                        <a:pt x="1298" y="2703"/>
                        <a:pt x="1295" y="2722"/>
                        <a:pt x="1300" y="2742"/>
                      </a:cubicBezTo>
                      <a:cubicBezTo>
                        <a:pt x="1304" y="2761"/>
                        <a:pt x="1317" y="2777"/>
                        <a:pt x="1327" y="2797"/>
                      </a:cubicBezTo>
                      <a:cubicBezTo>
                        <a:pt x="1338" y="2816"/>
                        <a:pt x="1349" y="2841"/>
                        <a:pt x="1362" y="2855"/>
                      </a:cubicBezTo>
                      <a:cubicBezTo>
                        <a:pt x="1374" y="2870"/>
                        <a:pt x="1390" y="2874"/>
                        <a:pt x="1400" y="2883"/>
                      </a:cubicBezTo>
                      <a:cubicBezTo>
                        <a:pt x="1409" y="2892"/>
                        <a:pt x="1414" y="2913"/>
                        <a:pt x="1420" y="2914"/>
                      </a:cubicBezTo>
                      <a:cubicBezTo>
                        <a:pt x="1426" y="2915"/>
                        <a:pt x="1430" y="2898"/>
                        <a:pt x="1434" y="2886"/>
                      </a:cubicBezTo>
                      <a:cubicBezTo>
                        <a:pt x="1437" y="2875"/>
                        <a:pt x="1424" y="2859"/>
                        <a:pt x="1441" y="2845"/>
                      </a:cubicBezTo>
                      <a:cubicBezTo>
                        <a:pt x="1458" y="2831"/>
                        <a:pt x="1506" y="2802"/>
                        <a:pt x="1538" y="2802"/>
                      </a:cubicBezTo>
                      <a:cubicBezTo>
                        <a:pt x="1570" y="2802"/>
                        <a:pt x="1615" y="2831"/>
                        <a:pt x="1637" y="2842"/>
                      </a:cubicBezTo>
                      <a:cubicBezTo>
                        <a:pt x="1658" y="2852"/>
                        <a:pt x="1661" y="2861"/>
                        <a:pt x="1671" y="2862"/>
                      </a:cubicBezTo>
                      <a:cubicBezTo>
                        <a:pt x="1681" y="2863"/>
                        <a:pt x="1686" y="2860"/>
                        <a:pt x="1696" y="2851"/>
                      </a:cubicBezTo>
                      <a:cubicBezTo>
                        <a:pt x="1706" y="2842"/>
                        <a:pt x="1728" y="2830"/>
                        <a:pt x="1733" y="2811"/>
                      </a:cubicBezTo>
                      <a:cubicBezTo>
                        <a:pt x="1737" y="2791"/>
                        <a:pt x="1729" y="2758"/>
                        <a:pt x="1726" y="2732"/>
                      </a:cubicBezTo>
                      <a:cubicBezTo>
                        <a:pt x="1723" y="2705"/>
                        <a:pt x="1717" y="2673"/>
                        <a:pt x="1713" y="2649"/>
                      </a:cubicBezTo>
                      <a:cubicBezTo>
                        <a:pt x="1710" y="2625"/>
                        <a:pt x="1710" y="2604"/>
                        <a:pt x="1705" y="2587"/>
                      </a:cubicBezTo>
                      <a:cubicBezTo>
                        <a:pt x="1701" y="2570"/>
                        <a:pt x="1688" y="2557"/>
                        <a:pt x="1685" y="2546"/>
                      </a:cubicBezTo>
                      <a:cubicBezTo>
                        <a:pt x="1681" y="2535"/>
                        <a:pt x="1680" y="2528"/>
                        <a:pt x="1685" y="2518"/>
                      </a:cubicBezTo>
                      <a:cubicBezTo>
                        <a:pt x="1689" y="2509"/>
                        <a:pt x="1698" y="2496"/>
                        <a:pt x="1716" y="2488"/>
                      </a:cubicBezTo>
                      <a:cubicBezTo>
                        <a:pt x="1733" y="2480"/>
                        <a:pt x="1766" y="2475"/>
                        <a:pt x="1788" y="2470"/>
                      </a:cubicBezTo>
                      <a:cubicBezTo>
                        <a:pt x="1810" y="2466"/>
                        <a:pt x="1835" y="2470"/>
                        <a:pt x="1845" y="2462"/>
                      </a:cubicBezTo>
                      <a:cubicBezTo>
                        <a:pt x="1855" y="2454"/>
                        <a:pt x="1854" y="2434"/>
                        <a:pt x="1850" y="2419"/>
                      </a:cubicBezTo>
                      <a:cubicBezTo>
                        <a:pt x="1845" y="2404"/>
                        <a:pt x="1821" y="2391"/>
                        <a:pt x="1819" y="2374"/>
                      </a:cubicBezTo>
                      <a:cubicBezTo>
                        <a:pt x="1816" y="2357"/>
                        <a:pt x="1812" y="2327"/>
                        <a:pt x="1836" y="2313"/>
                      </a:cubicBezTo>
                      <a:cubicBezTo>
                        <a:pt x="1860" y="2299"/>
                        <a:pt x="1925" y="2295"/>
                        <a:pt x="1961" y="2291"/>
                      </a:cubicBezTo>
                      <a:cubicBezTo>
                        <a:pt x="1997" y="2287"/>
                        <a:pt x="2033" y="2292"/>
                        <a:pt x="2054" y="2291"/>
                      </a:cubicBezTo>
                      <a:cubicBezTo>
                        <a:pt x="2075" y="2290"/>
                        <a:pt x="2077" y="2289"/>
                        <a:pt x="2090" y="2287"/>
                      </a:cubicBezTo>
                      <a:cubicBezTo>
                        <a:pt x="2103" y="2285"/>
                        <a:pt x="2112" y="2288"/>
                        <a:pt x="2131" y="2278"/>
                      </a:cubicBezTo>
                      <a:cubicBezTo>
                        <a:pt x="2151" y="2268"/>
                        <a:pt x="2183" y="2241"/>
                        <a:pt x="2210" y="2226"/>
                      </a:cubicBezTo>
                      <a:cubicBezTo>
                        <a:pt x="2238" y="2211"/>
                        <a:pt x="2269" y="2202"/>
                        <a:pt x="2296" y="2188"/>
                      </a:cubicBezTo>
                      <a:cubicBezTo>
                        <a:pt x="2324" y="2175"/>
                        <a:pt x="2350" y="2154"/>
                        <a:pt x="2375" y="2140"/>
                      </a:cubicBezTo>
                      <a:cubicBezTo>
                        <a:pt x="2401" y="2127"/>
                        <a:pt x="2419" y="2122"/>
                        <a:pt x="2447" y="2109"/>
                      </a:cubicBezTo>
                      <a:cubicBezTo>
                        <a:pt x="2475" y="2096"/>
                        <a:pt x="2512" y="2077"/>
                        <a:pt x="2540" y="2063"/>
                      </a:cubicBezTo>
                      <a:cubicBezTo>
                        <a:pt x="2568" y="2049"/>
                        <a:pt x="2589" y="2036"/>
                        <a:pt x="2612" y="2023"/>
                      </a:cubicBezTo>
                      <a:cubicBezTo>
                        <a:pt x="2635" y="2010"/>
                        <a:pt x="2674" y="1996"/>
                        <a:pt x="2681" y="1986"/>
                      </a:cubicBezTo>
                      <a:cubicBezTo>
                        <a:pt x="2688" y="1975"/>
                        <a:pt x="2664" y="1972"/>
                        <a:pt x="2657" y="1962"/>
                      </a:cubicBezTo>
                      <a:cubicBezTo>
                        <a:pt x="2650" y="1951"/>
                        <a:pt x="2644" y="1933"/>
                        <a:pt x="2640" y="1920"/>
                      </a:cubicBezTo>
                      <a:cubicBezTo>
                        <a:pt x="2635" y="1908"/>
                        <a:pt x="2635" y="1896"/>
                        <a:pt x="2626" y="1882"/>
                      </a:cubicBezTo>
                      <a:cubicBezTo>
                        <a:pt x="2617" y="1869"/>
                        <a:pt x="2600" y="1851"/>
                        <a:pt x="2588" y="1838"/>
                      </a:cubicBezTo>
                      <a:cubicBezTo>
                        <a:pt x="2577" y="1824"/>
                        <a:pt x="2568" y="1810"/>
                        <a:pt x="2557" y="1796"/>
                      </a:cubicBezTo>
                      <a:cubicBezTo>
                        <a:pt x="2547" y="1783"/>
                        <a:pt x="2535" y="1775"/>
                        <a:pt x="2523" y="1759"/>
                      </a:cubicBezTo>
                      <a:cubicBezTo>
                        <a:pt x="2512" y="1743"/>
                        <a:pt x="2501" y="1716"/>
                        <a:pt x="2485" y="1697"/>
                      </a:cubicBezTo>
                      <a:cubicBezTo>
                        <a:pt x="2469" y="1677"/>
                        <a:pt x="2441" y="1656"/>
                        <a:pt x="2423" y="1638"/>
                      </a:cubicBezTo>
                      <a:cubicBezTo>
                        <a:pt x="2406" y="1621"/>
                        <a:pt x="2390" y="1606"/>
                        <a:pt x="2379" y="1590"/>
                      </a:cubicBezTo>
                      <a:cubicBezTo>
                        <a:pt x="2367" y="1574"/>
                        <a:pt x="2362" y="1559"/>
                        <a:pt x="2351" y="1542"/>
                      </a:cubicBezTo>
                      <a:cubicBezTo>
                        <a:pt x="2341" y="1525"/>
                        <a:pt x="2327" y="1503"/>
                        <a:pt x="2313" y="1484"/>
                      </a:cubicBezTo>
                      <a:cubicBezTo>
                        <a:pt x="2300" y="1464"/>
                        <a:pt x="2292" y="1433"/>
                        <a:pt x="2265" y="1422"/>
                      </a:cubicBezTo>
                      <a:cubicBezTo>
                        <a:pt x="2239" y="1410"/>
                        <a:pt x="2188" y="1414"/>
                        <a:pt x="2155" y="1411"/>
                      </a:cubicBezTo>
                      <a:cubicBezTo>
                        <a:pt x="2123" y="1409"/>
                        <a:pt x="2095" y="1408"/>
                        <a:pt x="2070" y="1408"/>
                      </a:cubicBezTo>
                      <a:cubicBezTo>
                        <a:pt x="2044" y="1408"/>
                        <a:pt x="2016" y="1415"/>
                        <a:pt x="2001" y="1408"/>
                      </a:cubicBezTo>
                      <a:cubicBezTo>
                        <a:pt x="1986" y="1401"/>
                        <a:pt x="1984" y="1378"/>
                        <a:pt x="1984" y="1367"/>
                      </a:cubicBezTo>
                      <a:cubicBezTo>
                        <a:pt x="1984" y="1355"/>
                        <a:pt x="2000" y="1340"/>
                        <a:pt x="1997" y="1336"/>
                      </a:cubicBezTo>
                      <a:cubicBezTo>
                        <a:pt x="1995" y="1331"/>
                        <a:pt x="1993" y="1334"/>
                        <a:pt x="1966" y="1339"/>
                      </a:cubicBezTo>
                      <a:cubicBezTo>
                        <a:pt x="1940" y="1345"/>
                        <a:pt x="1886" y="1361"/>
                        <a:pt x="1839" y="1370"/>
                      </a:cubicBezTo>
                      <a:cubicBezTo>
                        <a:pt x="1792" y="1379"/>
                        <a:pt x="1733" y="1382"/>
                        <a:pt x="1685" y="1391"/>
                      </a:cubicBezTo>
                      <a:cubicBezTo>
                        <a:pt x="1637" y="1400"/>
                        <a:pt x="1586" y="1414"/>
                        <a:pt x="1551" y="1422"/>
                      </a:cubicBezTo>
                      <a:cubicBezTo>
                        <a:pt x="1515" y="1430"/>
                        <a:pt x="1496" y="1435"/>
                        <a:pt x="1468" y="1442"/>
                      </a:cubicBezTo>
                      <a:cubicBezTo>
                        <a:pt x="1441" y="1449"/>
                        <a:pt x="1411" y="1458"/>
                        <a:pt x="1386" y="1466"/>
                      </a:cubicBezTo>
                      <a:cubicBezTo>
                        <a:pt x="1361" y="1474"/>
                        <a:pt x="1335" y="1491"/>
                        <a:pt x="1317" y="1491"/>
                      </a:cubicBezTo>
                      <a:cubicBezTo>
                        <a:pt x="1299" y="1491"/>
                        <a:pt x="1280" y="1477"/>
                        <a:pt x="1272" y="1466"/>
                      </a:cubicBezTo>
                      <a:cubicBezTo>
                        <a:pt x="1264" y="1456"/>
                        <a:pt x="1269" y="1448"/>
                        <a:pt x="1269" y="1425"/>
                      </a:cubicBezTo>
                      <a:cubicBezTo>
                        <a:pt x="1269" y="1402"/>
                        <a:pt x="1276" y="1371"/>
                        <a:pt x="1276" y="1329"/>
                      </a:cubicBezTo>
                      <a:cubicBezTo>
                        <a:pt x="1276" y="1287"/>
                        <a:pt x="1274" y="1221"/>
                        <a:pt x="1272" y="1171"/>
                      </a:cubicBezTo>
                      <a:cubicBezTo>
                        <a:pt x="1271" y="1120"/>
                        <a:pt x="1270" y="1057"/>
                        <a:pt x="1269" y="1024"/>
                      </a:cubicBezTo>
                      <a:cubicBezTo>
                        <a:pt x="1268" y="991"/>
                        <a:pt x="1270" y="987"/>
                        <a:pt x="1262" y="968"/>
                      </a:cubicBezTo>
                      <a:cubicBezTo>
                        <a:pt x="1254" y="948"/>
                        <a:pt x="1239" y="923"/>
                        <a:pt x="1221" y="906"/>
                      </a:cubicBezTo>
                      <a:cubicBezTo>
                        <a:pt x="1203" y="889"/>
                        <a:pt x="1174" y="885"/>
                        <a:pt x="1156" y="868"/>
                      </a:cubicBezTo>
                      <a:cubicBezTo>
                        <a:pt x="1137" y="851"/>
                        <a:pt x="1111" y="822"/>
                        <a:pt x="1111" y="803"/>
                      </a:cubicBezTo>
                      <a:cubicBezTo>
                        <a:pt x="1111" y="783"/>
                        <a:pt x="1144" y="766"/>
                        <a:pt x="1156" y="751"/>
                      </a:cubicBezTo>
                      <a:cubicBezTo>
                        <a:pt x="1167" y="736"/>
                        <a:pt x="1170" y="726"/>
                        <a:pt x="1182" y="715"/>
                      </a:cubicBezTo>
                      <a:cubicBezTo>
                        <a:pt x="1193" y="703"/>
                        <a:pt x="1222" y="689"/>
                        <a:pt x="1228" y="679"/>
                      </a:cubicBezTo>
                      <a:cubicBezTo>
                        <a:pt x="1233" y="669"/>
                        <a:pt x="1225" y="656"/>
                        <a:pt x="1217" y="655"/>
                      </a:cubicBezTo>
                      <a:cubicBezTo>
                        <a:pt x="1209" y="654"/>
                        <a:pt x="1198" y="672"/>
                        <a:pt x="1176" y="671"/>
                      </a:cubicBezTo>
                      <a:cubicBezTo>
                        <a:pt x="1154" y="670"/>
                        <a:pt x="1109" y="657"/>
                        <a:pt x="1087" y="648"/>
                      </a:cubicBezTo>
                      <a:cubicBezTo>
                        <a:pt x="1065" y="639"/>
                        <a:pt x="1054" y="628"/>
                        <a:pt x="1046" y="617"/>
                      </a:cubicBezTo>
                      <a:cubicBezTo>
                        <a:pt x="1038" y="607"/>
                        <a:pt x="1039" y="604"/>
                        <a:pt x="1039" y="583"/>
                      </a:cubicBezTo>
                      <a:cubicBezTo>
                        <a:pt x="1039" y="562"/>
                        <a:pt x="1041" y="511"/>
                        <a:pt x="1049" y="488"/>
                      </a:cubicBezTo>
                      <a:cubicBezTo>
                        <a:pt x="1057" y="465"/>
                        <a:pt x="1074" y="451"/>
                        <a:pt x="1085" y="443"/>
                      </a:cubicBezTo>
                      <a:cubicBezTo>
                        <a:pt x="1096" y="435"/>
                        <a:pt x="1107" y="446"/>
                        <a:pt x="1114" y="442"/>
                      </a:cubicBezTo>
                      <a:cubicBezTo>
                        <a:pt x="1121" y="437"/>
                        <a:pt x="1120" y="421"/>
                        <a:pt x="1126" y="413"/>
                      </a:cubicBezTo>
                      <a:cubicBezTo>
                        <a:pt x="1132" y="405"/>
                        <a:pt x="1144" y="402"/>
                        <a:pt x="1149" y="390"/>
                      </a:cubicBezTo>
                      <a:cubicBezTo>
                        <a:pt x="1153" y="379"/>
                        <a:pt x="1158" y="358"/>
                        <a:pt x="1156" y="346"/>
                      </a:cubicBezTo>
                      <a:cubicBezTo>
                        <a:pt x="1153" y="333"/>
                        <a:pt x="1151" y="320"/>
                        <a:pt x="1132" y="311"/>
                      </a:cubicBezTo>
                      <a:cubicBezTo>
                        <a:pt x="1113" y="302"/>
                        <a:pt x="1070" y="297"/>
                        <a:pt x="1043" y="290"/>
                      </a:cubicBezTo>
                      <a:cubicBezTo>
                        <a:pt x="1016" y="283"/>
                        <a:pt x="989" y="276"/>
                        <a:pt x="968" y="266"/>
                      </a:cubicBezTo>
                      <a:cubicBezTo>
                        <a:pt x="947" y="256"/>
                        <a:pt x="927" y="248"/>
                        <a:pt x="919" y="232"/>
                      </a:cubicBezTo>
                      <a:cubicBezTo>
                        <a:pt x="911" y="216"/>
                        <a:pt x="923" y="190"/>
                        <a:pt x="922" y="170"/>
                      </a:cubicBezTo>
                      <a:cubicBezTo>
                        <a:pt x="921" y="151"/>
                        <a:pt x="913" y="129"/>
                        <a:pt x="915" y="115"/>
                      </a:cubicBezTo>
                      <a:cubicBezTo>
                        <a:pt x="919" y="102"/>
                        <a:pt x="929" y="94"/>
                        <a:pt x="941" y="89"/>
                      </a:cubicBezTo>
                      <a:cubicBezTo>
                        <a:pt x="954" y="84"/>
                        <a:pt x="980" y="94"/>
                        <a:pt x="994" y="88"/>
                      </a:cubicBezTo>
                      <a:cubicBezTo>
                        <a:pt x="1008" y="82"/>
                        <a:pt x="1020" y="61"/>
                        <a:pt x="1022" y="53"/>
                      </a:cubicBezTo>
                      <a:cubicBezTo>
                        <a:pt x="1024" y="45"/>
                        <a:pt x="1013" y="45"/>
                        <a:pt x="1007" y="41"/>
                      </a:cubicBezTo>
                      <a:cubicBezTo>
                        <a:pt x="1001" y="37"/>
                        <a:pt x="996" y="30"/>
                        <a:pt x="986" y="26"/>
                      </a:cubicBezTo>
                      <a:cubicBezTo>
                        <a:pt x="976" y="22"/>
                        <a:pt x="961" y="21"/>
                        <a:pt x="944" y="17"/>
                      </a:cubicBezTo>
                      <a:cubicBezTo>
                        <a:pt x="927" y="13"/>
                        <a:pt x="900" y="0"/>
                        <a:pt x="884" y="2"/>
                      </a:cubicBezTo>
                      <a:cubicBezTo>
                        <a:pt x="868" y="4"/>
                        <a:pt x="858" y="15"/>
                        <a:pt x="845" y="29"/>
                      </a:cubicBezTo>
                      <a:cubicBezTo>
                        <a:pt x="832" y="43"/>
                        <a:pt x="816" y="71"/>
                        <a:pt x="803" y="89"/>
                      </a:cubicBezTo>
                      <a:cubicBezTo>
                        <a:pt x="790" y="107"/>
                        <a:pt x="776" y="123"/>
                        <a:pt x="764" y="140"/>
                      </a:cubicBezTo>
                      <a:cubicBezTo>
                        <a:pt x="752" y="157"/>
                        <a:pt x="742" y="175"/>
                        <a:pt x="731" y="191"/>
                      </a:cubicBezTo>
                      <a:cubicBezTo>
                        <a:pt x="720" y="207"/>
                        <a:pt x="711" y="225"/>
                        <a:pt x="698" y="239"/>
                      </a:cubicBezTo>
                      <a:cubicBezTo>
                        <a:pt x="685" y="253"/>
                        <a:pt x="662" y="267"/>
                        <a:pt x="653" y="278"/>
                      </a:cubicBezTo>
                      <a:cubicBezTo>
                        <a:pt x="644" y="289"/>
                        <a:pt x="649" y="296"/>
                        <a:pt x="644" y="305"/>
                      </a:cubicBezTo>
                      <a:cubicBezTo>
                        <a:pt x="639" y="314"/>
                        <a:pt x="631" y="324"/>
                        <a:pt x="620" y="335"/>
                      </a:cubicBezTo>
                      <a:cubicBezTo>
                        <a:pt x="609" y="346"/>
                        <a:pt x="589" y="359"/>
                        <a:pt x="575" y="374"/>
                      </a:cubicBezTo>
                      <a:cubicBezTo>
                        <a:pt x="561" y="389"/>
                        <a:pt x="548" y="412"/>
                        <a:pt x="536" y="428"/>
                      </a:cubicBezTo>
                      <a:cubicBezTo>
                        <a:pt x="524" y="444"/>
                        <a:pt x="512" y="457"/>
                        <a:pt x="503" y="470"/>
                      </a:cubicBezTo>
                      <a:cubicBezTo>
                        <a:pt x="494" y="483"/>
                        <a:pt x="489" y="494"/>
                        <a:pt x="482" y="506"/>
                      </a:cubicBezTo>
                      <a:cubicBezTo>
                        <a:pt x="475" y="518"/>
                        <a:pt x="467" y="532"/>
                        <a:pt x="461" y="545"/>
                      </a:cubicBezTo>
                      <a:cubicBezTo>
                        <a:pt x="455" y="558"/>
                        <a:pt x="446" y="574"/>
                        <a:pt x="443" y="587"/>
                      </a:cubicBezTo>
                      <a:cubicBezTo>
                        <a:pt x="440" y="600"/>
                        <a:pt x="443" y="611"/>
                        <a:pt x="440" y="623"/>
                      </a:cubicBezTo>
                      <a:cubicBezTo>
                        <a:pt x="437" y="635"/>
                        <a:pt x="427" y="646"/>
                        <a:pt x="422" y="659"/>
                      </a:cubicBezTo>
                      <a:cubicBezTo>
                        <a:pt x="417" y="672"/>
                        <a:pt x="408" y="691"/>
                        <a:pt x="407" y="704"/>
                      </a:cubicBezTo>
                      <a:cubicBezTo>
                        <a:pt x="406" y="717"/>
                        <a:pt x="418" y="730"/>
                        <a:pt x="416" y="740"/>
                      </a:cubicBezTo>
                      <a:cubicBezTo>
                        <a:pt x="414" y="750"/>
                        <a:pt x="401" y="756"/>
                        <a:pt x="395" y="764"/>
                      </a:cubicBezTo>
                      <a:cubicBezTo>
                        <a:pt x="389" y="772"/>
                        <a:pt x="384" y="781"/>
                        <a:pt x="377" y="791"/>
                      </a:cubicBezTo>
                      <a:cubicBezTo>
                        <a:pt x="370" y="801"/>
                        <a:pt x="362" y="811"/>
                        <a:pt x="353" y="824"/>
                      </a:cubicBezTo>
                      <a:cubicBezTo>
                        <a:pt x="344" y="837"/>
                        <a:pt x="332" y="860"/>
                        <a:pt x="326" y="869"/>
                      </a:cubicBezTo>
                      <a:close/>
                    </a:path>
                  </a:pathLst>
                </a:custGeom>
                <a:solidFill>
                  <a:srgbClr val="CCFFCC">
                    <a:alpha val="59999"/>
                  </a:srgbClr>
                </a:solidFill>
                <a:ln w="9525" cap="flat" cmpd="sng">
                  <a:solidFill>
                    <a:srgbClr val="008000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134" name="Freeform 15"/>
                <p:cNvSpPr>
                  <a:spLocks/>
                </p:cNvSpPr>
                <p:nvPr/>
              </p:nvSpPr>
              <p:spPr bwMode="auto">
                <a:xfrm>
                  <a:off x="5263" y="7096"/>
                  <a:ext cx="2267" cy="2010"/>
                </a:xfrm>
                <a:custGeom>
                  <a:avLst/>
                  <a:gdLst>
                    <a:gd name="T0" fmla="*/ 441 w 1979"/>
                    <a:gd name="T1" fmla="*/ 408 h 1754"/>
                    <a:gd name="T2" fmla="*/ 196 w 1979"/>
                    <a:gd name="T3" fmla="*/ 668 h 1754"/>
                    <a:gd name="T4" fmla="*/ 19 w 1979"/>
                    <a:gd name="T5" fmla="*/ 983 h 1754"/>
                    <a:gd name="T6" fmla="*/ 64 w 1979"/>
                    <a:gd name="T7" fmla="*/ 1198 h 1754"/>
                    <a:gd name="T8" fmla="*/ 173 w 1979"/>
                    <a:gd name="T9" fmla="*/ 1215 h 1754"/>
                    <a:gd name="T10" fmla="*/ 218 w 1979"/>
                    <a:gd name="T11" fmla="*/ 1405 h 1754"/>
                    <a:gd name="T12" fmla="*/ 341 w 1979"/>
                    <a:gd name="T13" fmla="*/ 1550 h 1754"/>
                    <a:gd name="T14" fmla="*/ 310 w 1979"/>
                    <a:gd name="T15" fmla="*/ 1752 h 1754"/>
                    <a:gd name="T16" fmla="*/ 271 w 1979"/>
                    <a:gd name="T17" fmla="*/ 2004 h 1754"/>
                    <a:gd name="T18" fmla="*/ 296 w 1979"/>
                    <a:gd name="T19" fmla="*/ 2213 h 1754"/>
                    <a:gd name="T20" fmla="*/ 299 w 1979"/>
                    <a:gd name="T21" fmla="*/ 2301 h 1754"/>
                    <a:gd name="T22" fmla="*/ 265 w 1979"/>
                    <a:gd name="T23" fmla="*/ 2473 h 1754"/>
                    <a:gd name="T24" fmla="*/ 210 w 1979"/>
                    <a:gd name="T25" fmla="*/ 2597 h 1754"/>
                    <a:gd name="T26" fmla="*/ 318 w 1979"/>
                    <a:gd name="T27" fmla="*/ 2627 h 1754"/>
                    <a:gd name="T28" fmla="*/ 465 w 1979"/>
                    <a:gd name="T29" fmla="*/ 2589 h 1754"/>
                    <a:gd name="T30" fmla="*/ 625 w 1979"/>
                    <a:gd name="T31" fmla="*/ 2473 h 1754"/>
                    <a:gd name="T32" fmla="*/ 809 w 1979"/>
                    <a:gd name="T33" fmla="*/ 2427 h 1754"/>
                    <a:gd name="T34" fmla="*/ 1147 w 1979"/>
                    <a:gd name="T35" fmla="*/ 2450 h 1754"/>
                    <a:gd name="T36" fmla="*/ 1246 w 1979"/>
                    <a:gd name="T37" fmla="*/ 2350 h 1754"/>
                    <a:gd name="T38" fmla="*/ 1385 w 1979"/>
                    <a:gd name="T39" fmla="*/ 2143 h 1754"/>
                    <a:gd name="T40" fmla="*/ 1522 w 1979"/>
                    <a:gd name="T41" fmla="*/ 1927 h 1754"/>
                    <a:gd name="T42" fmla="*/ 1636 w 1979"/>
                    <a:gd name="T43" fmla="*/ 1682 h 1754"/>
                    <a:gd name="T44" fmla="*/ 1676 w 1979"/>
                    <a:gd name="T45" fmla="*/ 1517 h 1754"/>
                    <a:gd name="T46" fmla="*/ 1760 w 1979"/>
                    <a:gd name="T47" fmla="*/ 1306 h 1754"/>
                    <a:gd name="T48" fmla="*/ 1938 w 1979"/>
                    <a:gd name="T49" fmla="*/ 1104 h 1754"/>
                    <a:gd name="T50" fmla="*/ 2067 w 1979"/>
                    <a:gd name="T51" fmla="*/ 929 h 1754"/>
                    <a:gd name="T52" fmla="*/ 2297 w 1979"/>
                    <a:gd name="T53" fmla="*/ 692 h 1754"/>
                    <a:gd name="T54" fmla="*/ 2564 w 1979"/>
                    <a:gd name="T55" fmla="*/ 770 h 1754"/>
                    <a:gd name="T56" fmla="*/ 2803 w 1979"/>
                    <a:gd name="T57" fmla="*/ 824 h 1754"/>
                    <a:gd name="T58" fmla="*/ 2939 w 1979"/>
                    <a:gd name="T59" fmla="*/ 666 h 1754"/>
                    <a:gd name="T60" fmla="*/ 2898 w 1979"/>
                    <a:gd name="T61" fmla="*/ 560 h 1754"/>
                    <a:gd name="T62" fmla="*/ 2808 w 1979"/>
                    <a:gd name="T63" fmla="*/ 476 h 1754"/>
                    <a:gd name="T64" fmla="*/ 2695 w 1979"/>
                    <a:gd name="T65" fmla="*/ 480 h 1754"/>
                    <a:gd name="T66" fmla="*/ 2579 w 1979"/>
                    <a:gd name="T67" fmla="*/ 403 h 1754"/>
                    <a:gd name="T68" fmla="*/ 2514 w 1979"/>
                    <a:gd name="T69" fmla="*/ 507 h 1754"/>
                    <a:gd name="T70" fmla="*/ 2393 w 1979"/>
                    <a:gd name="T71" fmla="*/ 512 h 1754"/>
                    <a:gd name="T72" fmla="*/ 2316 w 1979"/>
                    <a:gd name="T73" fmla="*/ 566 h 1754"/>
                    <a:gd name="T74" fmla="*/ 2172 w 1979"/>
                    <a:gd name="T75" fmla="*/ 525 h 1754"/>
                    <a:gd name="T76" fmla="*/ 2014 w 1979"/>
                    <a:gd name="T77" fmla="*/ 575 h 1754"/>
                    <a:gd name="T78" fmla="*/ 1842 w 1979"/>
                    <a:gd name="T79" fmla="*/ 570 h 1754"/>
                    <a:gd name="T80" fmla="*/ 1797 w 1979"/>
                    <a:gd name="T81" fmla="*/ 371 h 1754"/>
                    <a:gd name="T82" fmla="*/ 1553 w 1979"/>
                    <a:gd name="T83" fmla="*/ 434 h 1754"/>
                    <a:gd name="T84" fmla="*/ 1427 w 1979"/>
                    <a:gd name="T85" fmla="*/ 497 h 1754"/>
                    <a:gd name="T86" fmla="*/ 1338 w 1979"/>
                    <a:gd name="T87" fmla="*/ 552 h 1754"/>
                    <a:gd name="T88" fmla="*/ 1238 w 1979"/>
                    <a:gd name="T89" fmla="*/ 445 h 1754"/>
                    <a:gd name="T90" fmla="*/ 1217 w 1979"/>
                    <a:gd name="T91" fmla="*/ 344 h 1754"/>
                    <a:gd name="T92" fmla="*/ 1135 w 1979"/>
                    <a:gd name="T93" fmla="*/ 416 h 1754"/>
                    <a:gd name="T94" fmla="*/ 1063 w 1979"/>
                    <a:gd name="T95" fmla="*/ 371 h 1754"/>
                    <a:gd name="T96" fmla="*/ 985 w 1979"/>
                    <a:gd name="T97" fmla="*/ 327 h 1754"/>
                    <a:gd name="T98" fmla="*/ 824 w 1979"/>
                    <a:gd name="T99" fmla="*/ 272 h 1754"/>
                    <a:gd name="T100" fmla="*/ 706 w 1979"/>
                    <a:gd name="T101" fmla="*/ 250 h 1754"/>
                    <a:gd name="T102" fmla="*/ 477 w 1979"/>
                    <a:gd name="T103" fmla="*/ 178 h 1754"/>
                    <a:gd name="T104" fmla="*/ 291 w 1979"/>
                    <a:gd name="T105" fmla="*/ 96 h 1754"/>
                    <a:gd name="T106" fmla="*/ 206 w 1979"/>
                    <a:gd name="T107" fmla="*/ 29 h 1754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1979"/>
                    <a:gd name="T163" fmla="*/ 0 h 1754"/>
                    <a:gd name="T164" fmla="*/ 1979 w 1979"/>
                    <a:gd name="T165" fmla="*/ 1754 h 1754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1979" h="1754">
                      <a:moveTo>
                        <a:pt x="209" y="133"/>
                      </a:moveTo>
                      <a:cubicBezTo>
                        <a:pt x="227" y="160"/>
                        <a:pt x="247" y="187"/>
                        <a:pt x="260" y="210"/>
                      </a:cubicBezTo>
                      <a:cubicBezTo>
                        <a:pt x="274" y="233"/>
                        <a:pt x="286" y="255"/>
                        <a:pt x="293" y="271"/>
                      </a:cubicBezTo>
                      <a:cubicBezTo>
                        <a:pt x="301" y="287"/>
                        <a:pt x="313" y="293"/>
                        <a:pt x="309" y="307"/>
                      </a:cubicBezTo>
                      <a:cubicBezTo>
                        <a:pt x="304" y="320"/>
                        <a:pt x="298" y="329"/>
                        <a:pt x="268" y="352"/>
                      </a:cubicBezTo>
                      <a:cubicBezTo>
                        <a:pt x="238" y="375"/>
                        <a:pt x="171" y="416"/>
                        <a:pt x="130" y="444"/>
                      </a:cubicBezTo>
                      <a:cubicBezTo>
                        <a:pt x="89" y="472"/>
                        <a:pt x="41" y="500"/>
                        <a:pt x="20" y="521"/>
                      </a:cubicBezTo>
                      <a:cubicBezTo>
                        <a:pt x="0" y="542"/>
                        <a:pt x="7" y="550"/>
                        <a:pt x="5" y="572"/>
                      </a:cubicBezTo>
                      <a:cubicBezTo>
                        <a:pt x="3" y="594"/>
                        <a:pt x="10" y="630"/>
                        <a:pt x="13" y="654"/>
                      </a:cubicBezTo>
                      <a:cubicBezTo>
                        <a:pt x="15" y="677"/>
                        <a:pt x="21" y="693"/>
                        <a:pt x="23" y="715"/>
                      </a:cubicBezTo>
                      <a:cubicBezTo>
                        <a:pt x="25" y="737"/>
                        <a:pt x="20" y="773"/>
                        <a:pt x="23" y="786"/>
                      </a:cubicBezTo>
                      <a:cubicBezTo>
                        <a:pt x="26" y="800"/>
                        <a:pt x="34" y="800"/>
                        <a:pt x="43" y="796"/>
                      </a:cubicBezTo>
                      <a:cubicBezTo>
                        <a:pt x="53" y="793"/>
                        <a:pt x="65" y="777"/>
                        <a:pt x="79" y="766"/>
                      </a:cubicBezTo>
                      <a:cubicBezTo>
                        <a:pt x="93" y="755"/>
                        <a:pt x="119" y="723"/>
                        <a:pt x="125" y="730"/>
                      </a:cubicBezTo>
                      <a:cubicBezTo>
                        <a:pt x="131" y="737"/>
                        <a:pt x="122" y="779"/>
                        <a:pt x="115" y="807"/>
                      </a:cubicBezTo>
                      <a:cubicBezTo>
                        <a:pt x="108" y="834"/>
                        <a:pt x="94" y="871"/>
                        <a:pt x="84" y="893"/>
                      </a:cubicBezTo>
                      <a:cubicBezTo>
                        <a:pt x="75" y="915"/>
                        <a:pt x="48" y="932"/>
                        <a:pt x="59" y="939"/>
                      </a:cubicBezTo>
                      <a:cubicBezTo>
                        <a:pt x="69" y="946"/>
                        <a:pt x="125" y="934"/>
                        <a:pt x="145" y="934"/>
                      </a:cubicBezTo>
                      <a:cubicBezTo>
                        <a:pt x="166" y="934"/>
                        <a:pt x="175" y="927"/>
                        <a:pt x="181" y="939"/>
                      </a:cubicBezTo>
                      <a:cubicBezTo>
                        <a:pt x="187" y="951"/>
                        <a:pt x="174" y="990"/>
                        <a:pt x="181" y="1006"/>
                      </a:cubicBezTo>
                      <a:cubicBezTo>
                        <a:pt x="189" y="1021"/>
                        <a:pt x="218" y="1019"/>
                        <a:pt x="227" y="1031"/>
                      </a:cubicBezTo>
                      <a:cubicBezTo>
                        <a:pt x="236" y="1043"/>
                        <a:pt x="235" y="1061"/>
                        <a:pt x="235" y="1074"/>
                      </a:cubicBezTo>
                      <a:cubicBezTo>
                        <a:pt x="235" y="1088"/>
                        <a:pt x="234" y="1101"/>
                        <a:pt x="230" y="1115"/>
                      </a:cubicBezTo>
                      <a:cubicBezTo>
                        <a:pt x="225" y="1130"/>
                        <a:pt x="214" y="1148"/>
                        <a:pt x="207" y="1164"/>
                      </a:cubicBezTo>
                      <a:cubicBezTo>
                        <a:pt x="199" y="1179"/>
                        <a:pt x="185" y="1191"/>
                        <a:pt x="181" y="1210"/>
                      </a:cubicBezTo>
                      <a:cubicBezTo>
                        <a:pt x="178" y="1228"/>
                        <a:pt x="186" y="1256"/>
                        <a:pt x="186" y="1276"/>
                      </a:cubicBezTo>
                      <a:cubicBezTo>
                        <a:pt x="186" y="1296"/>
                        <a:pt x="182" y="1315"/>
                        <a:pt x="181" y="1332"/>
                      </a:cubicBezTo>
                      <a:cubicBezTo>
                        <a:pt x="180" y="1349"/>
                        <a:pt x="175" y="1370"/>
                        <a:pt x="179" y="1378"/>
                      </a:cubicBezTo>
                      <a:cubicBezTo>
                        <a:pt x="182" y="1387"/>
                        <a:pt x="199" y="1368"/>
                        <a:pt x="202" y="1383"/>
                      </a:cubicBezTo>
                      <a:cubicBezTo>
                        <a:pt x="204" y="1399"/>
                        <a:pt x="200" y="1455"/>
                        <a:pt x="196" y="1470"/>
                      </a:cubicBezTo>
                      <a:cubicBezTo>
                        <a:pt x="193" y="1485"/>
                        <a:pt x="181" y="1472"/>
                        <a:pt x="179" y="1478"/>
                      </a:cubicBezTo>
                      <a:cubicBezTo>
                        <a:pt x="176" y="1483"/>
                        <a:pt x="178" y="1493"/>
                        <a:pt x="181" y="1501"/>
                      </a:cubicBezTo>
                      <a:cubicBezTo>
                        <a:pt x="184" y="1509"/>
                        <a:pt x="197" y="1517"/>
                        <a:pt x="199" y="1529"/>
                      </a:cubicBezTo>
                      <a:cubicBezTo>
                        <a:pt x="201" y="1541"/>
                        <a:pt x="197" y="1560"/>
                        <a:pt x="196" y="1575"/>
                      </a:cubicBezTo>
                      <a:cubicBezTo>
                        <a:pt x="195" y="1590"/>
                        <a:pt x="194" y="1607"/>
                        <a:pt x="191" y="1618"/>
                      </a:cubicBezTo>
                      <a:cubicBezTo>
                        <a:pt x="188" y="1629"/>
                        <a:pt x="180" y="1635"/>
                        <a:pt x="176" y="1643"/>
                      </a:cubicBezTo>
                      <a:cubicBezTo>
                        <a:pt x="172" y="1652"/>
                        <a:pt x="168" y="1660"/>
                        <a:pt x="166" y="1669"/>
                      </a:cubicBezTo>
                      <a:cubicBezTo>
                        <a:pt x="164" y="1677"/>
                        <a:pt x="170" y="1688"/>
                        <a:pt x="166" y="1697"/>
                      </a:cubicBezTo>
                      <a:cubicBezTo>
                        <a:pt x="162" y="1706"/>
                        <a:pt x="144" y="1717"/>
                        <a:pt x="140" y="1725"/>
                      </a:cubicBezTo>
                      <a:cubicBezTo>
                        <a:pt x="137" y="1734"/>
                        <a:pt x="139" y="1747"/>
                        <a:pt x="145" y="1751"/>
                      </a:cubicBezTo>
                      <a:cubicBezTo>
                        <a:pt x="151" y="1754"/>
                        <a:pt x="165" y="1746"/>
                        <a:pt x="176" y="1745"/>
                      </a:cubicBezTo>
                      <a:cubicBezTo>
                        <a:pt x="187" y="1745"/>
                        <a:pt x="201" y="1747"/>
                        <a:pt x="212" y="1745"/>
                      </a:cubicBezTo>
                      <a:cubicBezTo>
                        <a:pt x="223" y="1744"/>
                        <a:pt x="230" y="1737"/>
                        <a:pt x="242" y="1735"/>
                      </a:cubicBezTo>
                      <a:cubicBezTo>
                        <a:pt x="254" y="1734"/>
                        <a:pt x="272" y="1735"/>
                        <a:pt x="283" y="1733"/>
                      </a:cubicBezTo>
                      <a:cubicBezTo>
                        <a:pt x="294" y="1730"/>
                        <a:pt x="298" y="1722"/>
                        <a:pt x="309" y="1720"/>
                      </a:cubicBezTo>
                      <a:cubicBezTo>
                        <a:pt x="320" y="1718"/>
                        <a:pt x="338" y="1727"/>
                        <a:pt x="350" y="1720"/>
                      </a:cubicBezTo>
                      <a:cubicBezTo>
                        <a:pt x="361" y="1713"/>
                        <a:pt x="369" y="1694"/>
                        <a:pt x="380" y="1682"/>
                      </a:cubicBezTo>
                      <a:cubicBezTo>
                        <a:pt x="391" y="1669"/>
                        <a:pt x="404" y="1653"/>
                        <a:pt x="416" y="1643"/>
                      </a:cubicBezTo>
                      <a:cubicBezTo>
                        <a:pt x="428" y="1634"/>
                        <a:pt x="439" y="1632"/>
                        <a:pt x="452" y="1623"/>
                      </a:cubicBezTo>
                      <a:cubicBezTo>
                        <a:pt x="464" y="1615"/>
                        <a:pt x="478" y="1594"/>
                        <a:pt x="492" y="1592"/>
                      </a:cubicBezTo>
                      <a:cubicBezTo>
                        <a:pt x="507" y="1591"/>
                        <a:pt x="515" y="1609"/>
                        <a:pt x="538" y="1613"/>
                      </a:cubicBezTo>
                      <a:cubicBezTo>
                        <a:pt x="561" y="1617"/>
                        <a:pt x="609" y="1615"/>
                        <a:pt x="630" y="1618"/>
                      </a:cubicBezTo>
                      <a:cubicBezTo>
                        <a:pt x="651" y="1621"/>
                        <a:pt x="644" y="1632"/>
                        <a:pt x="666" y="1633"/>
                      </a:cubicBezTo>
                      <a:cubicBezTo>
                        <a:pt x="688" y="1635"/>
                        <a:pt x="736" y="1625"/>
                        <a:pt x="763" y="1628"/>
                      </a:cubicBezTo>
                      <a:cubicBezTo>
                        <a:pt x="790" y="1632"/>
                        <a:pt x="818" y="1656"/>
                        <a:pt x="829" y="1654"/>
                      </a:cubicBezTo>
                      <a:cubicBezTo>
                        <a:pt x="840" y="1651"/>
                        <a:pt x="829" y="1628"/>
                        <a:pt x="829" y="1613"/>
                      </a:cubicBezTo>
                      <a:cubicBezTo>
                        <a:pt x="829" y="1598"/>
                        <a:pt x="829" y="1581"/>
                        <a:pt x="829" y="1562"/>
                      </a:cubicBezTo>
                      <a:cubicBezTo>
                        <a:pt x="829" y="1542"/>
                        <a:pt x="822" y="1512"/>
                        <a:pt x="829" y="1495"/>
                      </a:cubicBezTo>
                      <a:cubicBezTo>
                        <a:pt x="836" y="1478"/>
                        <a:pt x="855" y="1472"/>
                        <a:pt x="870" y="1460"/>
                      </a:cubicBezTo>
                      <a:cubicBezTo>
                        <a:pt x="885" y="1448"/>
                        <a:pt x="907" y="1437"/>
                        <a:pt x="921" y="1424"/>
                      </a:cubicBezTo>
                      <a:cubicBezTo>
                        <a:pt x="935" y="1411"/>
                        <a:pt x="946" y="1395"/>
                        <a:pt x="954" y="1381"/>
                      </a:cubicBezTo>
                      <a:cubicBezTo>
                        <a:pt x="963" y="1366"/>
                        <a:pt x="963" y="1353"/>
                        <a:pt x="972" y="1337"/>
                      </a:cubicBezTo>
                      <a:cubicBezTo>
                        <a:pt x="981" y="1321"/>
                        <a:pt x="1005" y="1302"/>
                        <a:pt x="1013" y="1281"/>
                      </a:cubicBezTo>
                      <a:cubicBezTo>
                        <a:pt x="1021" y="1261"/>
                        <a:pt x="1012" y="1234"/>
                        <a:pt x="1018" y="1215"/>
                      </a:cubicBezTo>
                      <a:cubicBezTo>
                        <a:pt x="1024" y="1195"/>
                        <a:pt x="1037" y="1180"/>
                        <a:pt x="1049" y="1164"/>
                      </a:cubicBezTo>
                      <a:cubicBezTo>
                        <a:pt x="1061" y="1148"/>
                        <a:pt x="1083" y="1132"/>
                        <a:pt x="1089" y="1118"/>
                      </a:cubicBezTo>
                      <a:cubicBezTo>
                        <a:pt x="1096" y="1103"/>
                        <a:pt x="1089" y="1089"/>
                        <a:pt x="1089" y="1077"/>
                      </a:cubicBezTo>
                      <a:cubicBezTo>
                        <a:pt x="1090" y="1065"/>
                        <a:pt x="1090" y="1057"/>
                        <a:pt x="1095" y="1046"/>
                      </a:cubicBezTo>
                      <a:cubicBezTo>
                        <a:pt x="1099" y="1035"/>
                        <a:pt x="1111" y="1019"/>
                        <a:pt x="1115" y="1008"/>
                      </a:cubicBezTo>
                      <a:cubicBezTo>
                        <a:pt x="1119" y="997"/>
                        <a:pt x="1117" y="992"/>
                        <a:pt x="1120" y="980"/>
                      </a:cubicBezTo>
                      <a:cubicBezTo>
                        <a:pt x="1124" y="968"/>
                        <a:pt x="1127" y="953"/>
                        <a:pt x="1135" y="934"/>
                      </a:cubicBezTo>
                      <a:cubicBezTo>
                        <a:pt x="1144" y="915"/>
                        <a:pt x="1159" y="887"/>
                        <a:pt x="1171" y="868"/>
                      </a:cubicBezTo>
                      <a:cubicBezTo>
                        <a:pt x="1183" y="849"/>
                        <a:pt x="1196" y="836"/>
                        <a:pt x="1207" y="822"/>
                      </a:cubicBezTo>
                      <a:cubicBezTo>
                        <a:pt x="1218" y="807"/>
                        <a:pt x="1224" y="796"/>
                        <a:pt x="1237" y="781"/>
                      </a:cubicBezTo>
                      <a:cubicBezTo>
                        <a:pt x="1251" y="767"/>
                        <a:pt x="1277" y="746"/>
                        <a:pt x="1289" y="733"/>
                      </a:cubicBezTo>
                      <a:cubicBezTo>
                        <a:pt x="1300" y="719"/>
                        <a:pt x="1297" y="709"/>
                        <a:pt x="1304" y="699"/>
                      </a:cubicBezTo>
                      <a:cubicBezTo>
                        <a:pt x="1311" y="690"/>
                        <a:pt x="1320" y="690"/>
                        <a:pt x="1332" y="676"/>
                      </a:cubicBezTo>
                      <a:cubicBezTo>
                        <a:pt x="1344" y="663"/>
                        <a:pt x="1356" y="646"/>
                        <a:pt x="1375" y="618"/>
                      </a:cubicBezTo>
                      <a:cubicBezTo>
                        <a:pt x="1395" y="590"/>
                        <a:pt x="1428" y="537"/>
                        <a:pt x="1447" y="511"/>
                      </a:cubicBezTo>
                      <a:cubicBezTo>
                        <a:pt x="1465" y="484"/>
                        <a:pt x="1474" y="468"/>
                        <a:pt x="1488" y="460"/>
                      </a:cubicBezTo>
                      <a:cubicBezTo>
                        <a:pt x="1501" y="451"/>
                        <a:pt x="1510" y="455"/>
                        <a:pt x="1528" y="460"/>
                      </a:cubicBezTo>
                      <a:cubicBezTo>
                        <a:pt x="1547" y="464"/>
                        <a:pt x="1582" y="479"/>
                        <a:pt x="1600" y="485"/>
                      </a:cubicBezTo>
                      <a:cubicBezTo>
                        <a:pt x="1618" y="491"/>
                        <a:pt x="1618" y="491"/>
                        <a:pt x="1636" y="495"/>
                      </a:cubicBezTo>
                      <a:cubicBezTo>
                        <a:pt x="1654" y="499"/>
                        <a:pt x="1684" y="504"/>
                        <a:pt x="1706" y="511"/>
                      </a:cubicBezTo>
                      <a:cubicBezTo>
                        <a:pt x="1728" y="518"/>
                        <a:pt x="1746" y="529"/>
                        <a:pt x="1766" y="535"/>
                      </a:cubicBezTo>
                      <a:cubicBezTo>
                        <a:pt x="1786" y="541"/>
                        <a:pt x="1810" y="545"/>
                        <a:pt x="1826" y="547"/>
                      </a:cubicBezTo>
                      <a:cubicBezTo>
                        <a:pt x="1842" y="549"/>
                        <a:pt x="1849" y="550"/>
                        <a:pt x="1865" y="547"/>
                      </a:cubicBezTo>
                      <a:cubicBezTo>
                        <a:pt x="1881" y="544"/>
                        <a:pt x="1913" y="539"/>
                        <a:pt x="1922" y="529"/>
                      </a:cubicBezTo>
                      <a:cubicBezTo>
                        <a:pt x="1931" y="519"/>
                        <a:pt x="1917" y="501"/>
                        <a:pt x="1922" y="487"/>
                      </a:cubicBezTo>
                      <a:cubicBezTo>
                        <a:pt x="1927" y="473"/>
                        <a:pt x="1945" y="454"/>
                        <a:pt x="1955" y="442"/>
                      </a:cubicBezTo>
                      <a:cubicBezTo>
                        <a:pt x="1965" y="430"/>
                        <a:pt x="1979" y="423"/>
                        <a:pt x="1979" y="418"/>
                      </a:cubicBezTo>
                      <a:cubicBezTo>
                        <a:pt x="1979" y="413"/>
                        <a:pt x="1963" y="416"/>
                        <a:pt x="1955" y="409"/>
                      </a:cubicBezTo>
                      <a:cubicBezTo>
                        <a:pt x="1947" y="402"/>
                        <a:pt x="1936" y="383"/>
                        <a:pt x="1928" y="373"/>
                      </a:cubicBezTo>
                      <a:cubicBezTo>
                        <a:pt x="1920" y="363"/>
                        <a:pt x="1912" y="356"/>
                        <a:pt x="1904" y="349"/>
                      </a:cubicBezTo>
                      <a:cubicBezTo>
                        <a:pt x="1896" y="342"/>
                        <a:pt x="1886" y="339"/>
                        <a:pt x="1880" y="334"/>
                      </a:cubicBezTo>
                      <a:cubicBezTo>
                        <a:pt x="1874" y="329"/>
                        <a:pt x="1873" y="322"/>
                        <a:pt x="1868" y="316"/>
                      </a:cubicBezTo>
                      <a:cubicBezTo>
                        <a:pt x="1863" y="310"/>
                        <a:pt x="1858" y="295"/>
                        <a:pt x="1850" y="295"/>
                      </a:cubicBezTo>
                      <a:cubicBezTo>
                        <a:pt x="1842" y="295"/>
                        <a:pt x="1829" y="312"/>
                        <a:pt x="1820" y="316"/>
                      </a:cubicBezTo>
                      <a:cubicBezTo>
                        <a:pt x="1811" y="320"/>
                        <a:pt x="1803" y="321"/>
                        <a:pt x="1793" y="319"/>
                      </a:cubicBezTo>
                      <a:cubicBezTo>
                        <a:pt x="1783" y="317"/>
                        <a:pt x="1769" y="308"/>
                        <a:pt x="1760" y="304"/>
                      </a:cubicBezTo>
                      <a:cubicBezTo>
                        <a:pt x="1751" y="300"/>
                        <a:pt x="1746" y="301"/>
                        <a:pt x="1739" y="295"/>
                      </a:cubicBezTo>
                      <a:cubicBezTo>
                        <a:pt x="1732" y="289"/>
                        <a:pt x="1722" y="268"/>
                        <a:pt x="1715" y="268"/>
                      </a:cubicBezTo>
                      <a:cubicBezTo>
                        <a:pt x="1708" y="268"/>
                        <a:pt x="1702" y="287"/>
                        <a:pt x="1697" y="295"/>
                      </a:cubicBezTo>
                      <a:cubicBezTo>
                        <a:pt x="1692" y="303"/>
                        <a:pt x="1689" y="309"/>
                        <a:pt x="1685" y="316"/>
                      </a:cubicBezTo>
                      <a:cubicBezTo>
                        <a:pt x="1681" y="323"/>
                        <a:pt x="1679" y="330"/>
                        <a:pt x="1673" y="337"/>
                      </a:cubicBezTo>
                      <a:cubicBezTo>
                        <a:pt x="1667" y="344"/>
                        <a:pt x="1658" y="358"/>
                        <a:pt x="1648" y="358"/>
                      </a:cubicBezTo>
                      <a:cubicBezTo>
                        <a:pt x="1638" y="358"/>
                        <a:pt x="1619" y="340"/>
                        <a:pt x="1610" y="337"/>
                      </a:cubicBezTo>
                      <a:cubicBezTo>
                        <a:pt x="1601" y="334"/>
                        <a:pt x="1599" y="339"/>
                        <a:pt x="1592" y="340"/>
                      </a:cubicBezTo>
                      <a:cubicBezTo>
                        <a:pt x="1585" y="341"/>
                        <a:pt x="1574" y="342"/>
                        <a:pt x="1568" y="346"/>
                      </a:cubicBezTo>
                      <a:cubicBezTo>
                        <a:pt x="1562" y="350"/>
                        <a:pt x="1560" y="362"/>
                        <a:pt x="1556" y="367"/>
                      </a:cubicBezTo>
                      <a:cubicBezTo>
                        <a:pt x="1552" y="372"/>
                        <a:pt x="1546" y="374"/>
                        <a:pt x="1541" y="376"/>
                      </a:cubicBezTo>
                      <a:cubicBezTo>
                        <a:pt x="1536" y="378"/>
                        <a:pt x="1532" y="381"/>
                        <a:pt x="1523" y="379"/>
                      </a:cubicBezTo>
                      <a:cubicBezTo>
                        <a:pt x="1514" y="377"/>
                        <a:pt x="1497" y="369"/>
                        <a:pt x="1484" y="364"/>
                      </a:cubicBezTo>
                      <a:cubicBezTo>
                        <a:pt x="1471" y="359"/>
                        <a:pt x="1459" y="354"/>
                        <a:pt x="1445" y="349"/>
                      </a:cubicBezTo>
                      <a:cubicBezTo>
                        <a:pt x="1431" y="344"/>
                        <a:pt x="1415" y="331"/>
                        <a:pt x="1400" y="331"/>
                      </a:cubicBezTo>
                      <a:cubicBezTo>
                        <a:pt x="1385" y="331"/>
                        <a:pt x="1367" y="339"/>
                        <a:pt x="1357" y="347"/>
                      </a:cubicBezTo>
                      <a:cubicBezTo>
                        <a:pt x="1347" y="355"/>
                        <a:pt x="1347" y="372"/>
                        <a:pt x="1340" y="382"/>
                      </a:cubicBezTo>
                      <a:cubicBezTo>
                        <a:pt x="1333" y="392"/>
                        <a:pt x="1322" y="402"/>
                        <a:pt x="1313" y="406"/>
                      </a:cubicBezTo>
                      <a:cubicBezTo>
                        <a:pt x="1304" y="410"/>
                        <a:pt x="1297" y="410"/>
                        <a:pt x="1283" y="406"/>
                      </a:cubicBezTo>
                      <a:cubicBezTo>
                        <a:pt x="1269" y="402"/>
                        <a:pt x="1240" y="391"/>
                        <a:pt x="1226" y="379"/>
                      </a:cubicBezTo>
                      <a:cubicBezTo>
                        <a:pt x="1212" y="367"/>
                        <a:pt x="1201" y="350"/>
                        <a:pt x="1196" y="334"/>
                      </a:cubicBezTo>
                      <a:cubicBezTo>
                        <a:pt x="1191" y="318"/>
                        <a:pt x="1193" y="297"/>
                        <a:pt x="1193" y="283"/>
                      </a:cubicBezTo>
                      <a:cubicBezTo>
                        <a:pt x="1193" y="269"/>
                        <a:pt x="1205" y="252"/>
                        <a:pt x="1196" y="247"/>
                      </a:cubicBezTo>
                      <a:cubicBezTo>
                        <a:pt x="1187" y="242"/>
                        <a:pt x="1161" y="250"/>
                        <a:pt x="1138" y="250"/>
                      </a:cubicBezTo>
                      <a:cubicBezTo>
                        <a:pt x="1115" y="250"/>
                        <a:pt x="1076" y="242"/>
                        <a:pt x="1059" y="248"/>
                      </a:cubicBezTo>
                      <a:cubicBezTo>
                        <a:pt x="1042" y="254"/>
                        <a:pt x="1044" y="281"/>
                        <a:pt x="1034" y="289"/>
                      </a:cubicBezTo>
                      <a:cubicBezTo>
                        <a:pt x="1024" y="297"/>
                        <a:pt x="1010" y="290"/>
                        <a:pt x="1001" y="298"/>
                      </a:cubicBezTo>
                      <a:cubicBezTo>
                        <a:pt x="992" y="306"/>
                        <a:pt x="991" y="332"/>
                        <a:pt x="983" y="337"/>
                      </a:cubicBezTo>
                      <a:cubicBezTo>
                        <a:pt x="975" y="342"/>
                        <a:pt x="960" y="334"/>
                        <a:pt x="950" y="331"/>
                      </a:cubicBezTo>
                      <a:cubicBezTo>
                        <a:pt x="940" y="328"/>
                        <a:pt x="929" y="320"/>
                        <a:pt x="923" y="322"/>
                      </a:cubicBezTo>
                      <a:cubicBezTo>
                        <a:pt x="917" y="324"/>
                        <a:pt x="916" y="336"/>
                        <a:pt x="911" y="343"/>
                      </a:cubicBezTo>
                      <a:cubicBezTo>
                        <a:pt x="906" y="350"/>
                        <a:pt x="899" y="368"/>
                        <a:pt x="890" y="367"/>
                      </a:cubicBezTo>
                      <a:cubicBezTo>
                        <a:pt x="881" y="366"/>
                        <a:pt x="866" y="348"/>
                        <a:pt x="857" y="340"/>
                      </a:cubicBezTo>
                      <a:cubicBezTo>
                        <a:pt x="848" y="332"/>
                        <a:pt x="838" y="323"/>
                        <a:pt x="833" y="316"/>
                      </a:cubicBezTo>
                      <a:cubicBezTo>
                        <a:pt x="828" y="309"/>
                        <a:pt x="824" y="305"/>
                        <a:pt x="824" y="296"/>
                      </a:cubicBezTo>
                      <a:cubicBezTo>
                        <a:pt x="824" y="287"/>
                        <a:pt x="831" y="271"/>
                        <a:pt x="832" y="261"/>
                      </a:cubicBezTo>
                      <a:cubicBezTo>
                        <a:pt x="833" y="251"/>
                        <a:pt x="837" y="243"/>
                        <a:pt x="833" y="238"/>
                      </a:cubicBezTo>
                      <a:cubicBezTo>
                        <a:pt x="829" y="233"/>
                        <a:pt x="816" y="230"/>
                        <a:pt x="809" y="229"/>
                      </a:cubicBezTo>
                      <a:cubicBezTo>
                        <a:pt x="802" y="228"/>
                        <a:pt x="795" y="230"/>
                        <a:pt x="791" y="235"/>
                      </a:cubicBezTo>
                      <a:cubicBezTo>
                        <a:pt x="787" y="240"/>
                        <a:pt x="791" y="252"/>
                        <a:pt x="785" y="259"/>
                      </a:cubicBezTo>
                      <a:cubicBezTo>
                        <a:pt x="779" y="266"/>
                        <a:pt x="763" y="274"/>
                        <a:pt x="755" y="277"/>
                      </a:cubicBezTo>
                      <a:cubicBezTo>
                        <a:pt x="747" y="280"/>
                        <a:pt x="740" y="280"/>
                        <a:pt x="734" y="280"/>
                      </a:cubicBezTo>
                      <a:cubicBezTo>
                        <a:pt x="728" y="280"/>
                        <a:pt x="723" y="279"/>
                        <a:pt x="719" y="274"/>
                      </a:cubicBezTo>
                      <a:cubicBezTo>
                        <a:pt x="715" y="269"/>
                        <a:pt x="710" y="255"/>
                        <a:pt x="707" y="247"/>
                      </a:cubicBezTo>
                      <a:cubicBezTo>
                        <a:pt x="704" y="239"/>
                        <a:pt x="706" y="230"/>
                        <a:pt x="701" y="226"/>
                      </a:cubicBezTo>
                      <a:cubicBezTo>
                        <a:pt x="696" y="222"/>
                        <a:pt x="684" y="224"/>
                        <a:pt x="677" y="223"/>
                      </a:cubicBezTo>
                      <a:cubicBezTo>
                        <a:pt x="670" y="222"/>
                        <a:pt x="666" y="222"/>
                        <a:pt x="656" y="217"/>
                      </a:cubicBezTo>
                      <a:cubicBezTo>
                        <a:pt x="646" y="212"/>
                        <a:pt x="629" y="197"/>
                        <a:pt x="617" y="190"/>
                      </a:cubicBezTo>
                      <a:cubicBezTo>
                        <a:pt x="605" y="183"/>
                        <a:pt x="592" y="173"/>
                        <a:pt x="581" y="172"/>
                      </a:cubicBezTo>
                      <a:cubicBezTo>
                        <a:pt x="570" y="171"/>
                        <a:pt x="559" y="176"/>
                        <a:pt x="548" y="181"/>
                      </a:cubicBezTo>
                      <a:cubicBezTo>
                        <a:pt x="537" y="186"/>
                        <a:pt x="527" y="198"/>
                        <a:pt x="518" y="199"/>
                      </a:cubicBezTo>
                      <a:cubicBezTo>
                        <a:pt x="509" y="200"/>
                        <a:pt x="499" y="192"/>
                        <a:pt x="491" y="187"/>
                      </a:cubicBezTo>
                      <a:cubicBezTo>
                        <a:pt x="483" y="182"/>
                        <a:pt x="480" y="170"/>
                        <a:pt x="470" y="166"/>
                      </a:cubicBezTo>
                      <a:cubicBezTo>
                        <a:pt x="460" y="162"/>
                        <a:pt x="447" y="165"/>
                        <a:pt x="431" y="160"/>
                      </a:cubicBezTo>
                      <a:cubicBezTo>
                        <a:pt x="415" y="155"/>
                        <a:pt x="390" y="143"/>
                        <a:pt x="371" y="136"/>
                      </a:cubicBezTo>
                      <a:cubicBezTo>
                        <a:pt x="352" y="129"/>
                        <a:pt x="333" y="125"/>
                        <a:pt x="317" y="118"/>
                      </a:cubicBezTo>
                      <a:cubicBezTo>
                        <a:pt x="301" y="111"/>
                        <a:pt x="290" y="98"/>
                        <a:pt x="275" y="91"/>
                      </a:cubicBezTo>
                      <a:cubicBezTo>
                        <a:pt x="260" y="84"/>
                        <a:pt x="240" y="80"/>
                        <a:pt x="227" y="76"/>
                      </a:cubicBezTo>
                      <a:cubicBezTo>
                        <a:pt x="214" y="72"/>
                        <a:pt x="205" y="72"/>
                        <a:pt x="194" y="64"/>
                      </a:cubicBezTo>
                      <a:cubicBezTo>
                        <a:pt x="183" y="56"/>
                        <a:pt x="171" y="38"/>
                        <a:pt x="164" y="28"/>
                      </a:cubicBezTo>
                      <a:cubicBezTo>
                        <a:pt x="157" y="18"/>
                        <a:pt x="156" y="2"/>
                        <a:pt x="152" y="1"/>
                      </a:cubicBezTo>
                      <a:cubicBezTo>
                        <a:pt x="148" y="0"/>
                        <a:pt x="137" y="12"/>
                        <a:pt x="137" y="19"/>
                      </a:cubicBezTo>
                      <a:cubicBezTo>
                        <a:pt x="137" y="26"/>
                        <a:pt x="140" y="25"/>
                        <a:pt x="152" y="44"/>
                      </a:cubicBezTo>
                      <a:cubicBezTo>
                        <a:pt x="164" y="63"/>
                        <a:pt x="191" y="106"/>
                        <a:pt x="209" y="133"/>
                      </a:cubicBezTo>
                      <a:close/>
                    </a:path>
                  </a:pathLst>
                </a:custGeom>
                <a:solidFill>
                  <a:srgbClr val="CCFFCC">
                    <a:alpha val="59999"/>
                  </a:srgbClr>
                </a:solidFill>
                <a:ln w="9525">
                  <a:solidFill>
                    <a:srgbClr val="008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</p:grpSp>
          <p:grpSp>
            <p:nvGrpSpPr>
              <p:cNvPr id="4129" name="Group 16"/>
              <p:cNvGrpSpPr>
                <a:grpSpLocks/>
              </p:cNvGrpSpPr>
              <p:nvPr/>
            </p:nvGrpSpPr>
            <p:grpSpPr bwMode="auto">
              <a:xfrm>
                <a:off x="1619" y="7950"/>
                <a:ext cx="5339" cy="7683"/>
                <a:chOff x="2648" y="7632"/>
                <a:chExt cx="4661" cy="6707"/>
              </a:xfrm>
            </p:grpSpPr>
            <p:sp>
              <p:nvSpPr>
                <p:cNvPr id="4130" name="Freeform 17"/>
                <p:cNvSpPr>
                  <a:spLocks/>
                </p:cNvSpPr>
                <p:nvPr/>
              </p:nvSpPr>
              <p:spPr bwMode="auto">
                <a:xfrm>
                  <a:off x="3838" y="7632"/>
                  <a:ext cx="2216" cy="3717"/>
                </a:xfrm>
                <a:custGeom>
                  <a:avLst/>
                  <a:gdLst>
                    <a:gd name="T0" fmla="*/ 1927 w 2216"/>
                    <a:gd name="T1" fmla="*/ 1560 h 3717"/>
                    <a:gd name="T2" fmla="*/ 1990 w 2216"/>
                    <a:gd name="T3" fmla="*/ 1356 h 3717"/>
                    <a:gd name="T4" fmla="*/ 2062 w 2216"/>
                    <a:gd name="T5" fmla="*/ 1185 h 3717"/>
                    <a:gd name="T6" fmla="*/ 2083 w 2216"/>
                    <a:gd name="T7" fmla="*/ 1080 h 3717"/>
                    <a:gd name="T8" fmla="*/ 2128 w 2216"/>
                    <a:gd name="T9" fmla="*/ 960 h 3717"/>
                    <a:gd name="T10" fmla="*/ 2180 w 2216"/>
                    <a:gd name="T11" fmla="*/ 803 h 3717"/>
                    <a:gd name="T12" fmla="*/ 2173 w 2216"/>
                    <a:gd name="T13" fmla="*/ 714 h 3717"/>
                    <a:gd name="T14" fmla="*/ 2164 w 2216"/>
                    <a:gd name="T15" fmla="*/ 531 h 3717"/>
                    <a:gd name="T16" fmla="*/ 2215 w 2216"/>
                    <a:gd name="T17" fmla="*/ 321 h 3717"/>
                    <a:gd name="T18" fmla="*/ 2158 w 2216"/>
                    <a:gd name="T19" fmla="*/ 234 h 3717"/>
                    <a:gd name="T20" fmla="*/ 2035 w 2216"/>
                    <a:gd name="T21" fmla="*/ 189 h 3717"/>
                    <a:gd name="T22" fmla="*/ 2104 w 2216"/>
                    <a:gd name="T23" fmla="*/ 0 h 3717"/>
                    <a:gd name="T24" fmla="*/ 1978 w 2216"/>
                    <a:gd name="T25" fmla="*/ 102 h 3717"/>
                    <a:gd name="T26" fmla="*/ 1720 w 2216"/>
                    <a:gd name="T27" fmla="*/ 129 h 3717"/>
                    <a:gd name="T28" fmla="*/ 1579 w 2216"/>
                    <a:gd name="T29" fmla="*/ 216 h 3717"/>
                    <a:gd name="T30" fmla="*/ 1432 w 2216"/>
                    <a:gd name="T31" fmla="*/ 360 h 3717"/>
                    <a:gd name="T32" fmla="*/ 1186 w 2216"/>
                    <a:gd name="T33" fmla="*/ 339 h 3717"/>
                    <a:gd name="T34" fmla="*/ 1051 w 2216"/>
                    <a:gd name="T35" fmla="*/ 576 h 3717"/>
                    <a:gd name="T36" fmla="*/ 931 w 2216"/>
                    <a:gd name="T37" fmla="*/ 549 h 3717"/>
                    <a:gd name="T38" fmla="*/ 901 w 2216"/>
                    <a:gd name="T39" fmla="*/ 912 h 3717"/>
                    <a:gd name="T40" fmla="*/ 733 w 2216"/>
                    <a:gd name="T41" fmla="*/ 1065 h 3717"/>
                    <a:gd name="T42" fmla="*/ 481 w 2216"/>
                    <a:gd name="T43" fmla="*/ 1179 h 3717"/>
                    <a:gd name="T44" fmla="*/ 223 w 2216"/>
                    <a:gd name="T45" fmla="*/ 1371 h 3717"/>
                    <a:gd name="T46" fmla="*/ 4 w 2216"/>
                    <a:gd name="T47" fmla="*/ 1467 h 3717"/>
                    <a:gd name="T48" fmla="*/ 256 w 2216"/>
                    <a:gd name="T49" fmla="*/ 1644 h 3717"/>
                    <a:gd name="T50" fmla="*/ 616 w 2216"/>
                    <a:gd name="T51" fmla="*/ 1884 h 3717"/>
                    <a:gd name="T52" fmla="*/ 685 w 2216"/>
                    <a:gd name="T53" fmla="*/ 2043 h 3717"/>
                    <a:gd name="T54" fmla="*/ 571 w 2216"/>
                    <a:gd name="T55" fmla="*/ 2337 h 3717"/>
                    <a:gd name="T56" fmla="*/ 475 w 2216"/>
                    <a:gd name="T57" fmla="*/ 2580 h 3717"/>
                    <a:gd name="T58" fmla="*/ 391 w 2216"/>
                    <a:gd name="T59" fmla="*/ 2961 h 3717"/>
                    <a:gd name="T60" fmla="*/ 187 w 2216"/>
                    <a:gd name="T61" fmla="*/ 3057 h 3717"/>
                    <a:gd name="T62" fmla="*/ 208 w 2216"/>
                    <a:gd name="T63" fmla="*/ 2937 h 3717"/>
                    <a:gd name="T64" fmla="*/ 100 w 2216"/>
                    <a:gd name="T65" fmla="*/ 2913 h 3717"/>
                    <a:gd name="T66" fmla="*/ 106 w 2216"/>
                    <a:gd name="T67" fmla="*/ 3000 h 3717"/>
                    <a:gd name="T68" fmla="*/ 223 w 2216"/>
                    <a:gd name="T69" fmla="*/ 3237 h 3717"/>
                    <a:gd name="T70" fmla="*/ 238 w 2216"/>
                    <a:gd name="T71" fmla="*/ 3408 h 3717"/>
                    <a:gd name="T72" fmla="*/ 241 w 2216"/>
                    <a:gd name="T73" fmla="*/ 3669 h 3717"/>
                    <a:gd name="T74" fmla="*/ 334 w 2216"/>
                    <a:gd name="T75" fmla="*/ 3717 h 3717"/>
                    <a:gd name="T76" fmla="*/ 379 w 2216"/>
                    <a:gd name="T77" fmla="*/ 3408 h 3717"/>
                    <a:gd name="T78" fmla="*/ 466 w 2216"/>
                    <a:gd name="T79" fmla="*/ 3138 h 3717"/>
                    <a:gd name="T80" fmla="*/ 589 w 2216"/>
                    <a:gd name="T81" fmla="*/ 2956 h 3717"/>
                    <a:gd name="T82" fmla="*/ 653 w 2216"/>
                    <a:gd name="T83" fmla="*/ 2701 h 3717"/>
                    <a:gd name="T84" fmla="*/ 780 w 2216"/>
                    <a:gd name="T85" fmla="*/ 2431 h 3717"/>
                    <a:gd name="T86" fmla="*/ 747 w 2216"/>
                    <a:gd name="T87" fmla="*/ 2301 h 3717"/>
                    <a:gd name="T88" fmla="*/ 696 w 2216"/>
                    <a:gd name="T89" fmla="*/ 2086 h 3717"/>
                    <a:gd name="T90" fmla="*/ 821 w 2216"/>
                    <a:gd name="T91" fmla="*/ 1951 h 3717"/>
                    <a:gd name="T92" fmla="*/ 1010 w 2216"/>
                    <a:gd name="T93" fmla="*/ 1755 h 3717"/>
                    <a:gd name="T94" fmla="*/ 1203 w 2216"/>
                    <a:gd name="T95" fmla="*/ 1770 h 3717"/>
                    <a:gd name="T96" fmla="*/ 1318 w 2216"/>
                    <a:gd name="T97" fmla="*/ 1862 h 3717"/>
                    <a:gd name="T98" fmla="*/ 1366 w 2216"/>
                    <a:gd name="T99" fmla="*/ 1969 h 3717"/>
                    <a:gd name="T100" fmla="*/ 1499 w 2216"/>
                    <a:gd name="T101" fmla="*/ 1938 h 3717"/>
                    <a:gd name="T102" fmla="*/ 1532 w 2216"/>
                    <a:gd name="T103" fmla="*/ 1737 h 3717"/>
                    <a:gd name="T104" fmla="*/ 1670 w 2216"/>
                    <a:gd name="T105" fmla="*/ 1681 h 3717"/>
                    <a:gd name="T106" fmla="*/ 1873 w 2216"/>
                    <a:gd name="T107" fmla="*/ 1773 h 3717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w 2216"/>
                    <a:gd name="T163" fmla="*/ 0 h 3717"/>
                    <a:gd name="T164" fmla="*/ 2216 w 2216"/>
                    <a:gd name="T165" fmla="*/ 3717 h 3717"/>
                  </a:gdLst>
                  <a:ahLst/>
                  <a:cxnLst>
                    <a:cxn ang="T108">
                      <a:pos x="T0" y="T1"/>
                    </a:cxn>
                    <a:cxn ang="T109">
                      <a:pos x="T2" y="T3"/>
                    </a:cxn>
                    <a:cxn ang="T110">
                      <a:pos x="T4" y="T5"/>
                    </a:cxn>
                    <a:cxn ang="T111">
                      <a:pos x="T6" y="T7"/>
                    </a:cxn>
                    <a:cxn ang="T112">
                      <a:pos x="T8" y="T9"/>
                    </a:cxn>
                    <a:cxn ang="T113">
                      <a:pos x="T10" y="T11"/>
                    </a:cxn>
                    <a:cxn ang="T114">
                      <a:pos x="T12" y="T13"/>
                    </a:cxn>
                    <a:cxn ang="T115">
                      <a:pos x="T14" y="T15"/>
                    </a:cxn>
                    <a:cxn ang="T116">
                      <a:pos x="T16" y="T17"/>
                    </a:cxn>
                    <a:cxn ang="T117">
                      <a:pos x="T18" y="T19"/>
                    </a:cxn>
                    <a:cxn ang="T118">
                      <a:pos x="T20" y="T21"/>
                    </a:cxn>
                    <a:cxn ang="T119">
                      <a:pos x="T22" y="T23"/>
                    </a:cxn>
                    <a:cxn ang="T120">
                      <a:pos x="T24" y="T25"/>
                    </a:cxn>
                    <a:cxn ang="T121">
                      <a:pos x="T26" y="T27"/>
                    </a:cxn>
                    <a:cxn ang="T122">
                      <a:pos x="T28" y="T29"/>
                    </a:cxn>
                    <a:cxn ang="T123">
                      <a:pos x="T30" y="T31"/>
                    </a:cxn>
                    <a:cxn ang="T124">
                      <a:pos x="T32" y="T33"/>
                    </a:cxn>
                    <a:cxn ang="T125">
                      <a:pos x="T34" y="T35"/>
                    </a:cxn>
                    <a:cxn ang="T126">
                      <a:pos x="T36" y="T37"/>
                    </a:cxn>
                    <a:cxn ang="T127">
                      <a:pos x="T38" y="T39"/>
                    </a:cxn>
                    <a:cxn ang="T128">
                      <a:pos x="T40" y="T41"/>
                    </a:cxn>
                    <a:cxn ang="T129">
                      <a:pos x="T42" y="T43"/>
                    </a:cxn>
                    <a:cxn ang="T130">
                      <a:pos x="T44" y="T45"/>
                    </a:cxn>
                    <a:cxn ang="T131">
                      <a:pos x="T46" y="T47"/>
                    </a:cxn>
                    <a:cxn ang="T132">
                      <a:pos x="T48" y="T49"/>
                    </a:cxn>
                    <a:cxn ang="T133">
                      <a:pos x="T50" y="T51"/>
                    </a:cxn>
                    <a:cxn ang="T134">
                      <a:pos x="T52" y="T53"/>
                    </a:cxn>
                    <a:cxn ang="T135">
                      <a:pos x="T54" y="T55"/>
                    </a:cxn>
                    <a:cxn ang="T136">
                      <a:pos x="T56" y="T57"/>
                    </a:cxn>
                    <a:cxn ang="T137">
                      <a:pos x="T58" y="T59"/>
                    </a:cxn>
                    <a:cxn ang="T138">
                      <a:pos x="T60" y="T61"/>
                    </a:cxn>
                    <a:cxn ang="T139">
                      <a:pos x="T62" y="T63"/>
                    </a:cxn>
                    <a:cxn ang="T140">
                      <a:pos x="T64" y="T65"/>
                    </a:cxn>
                    <a:cxn ang="T141">
                      <a:pos x="T66" y="T67"/>
                    </a:cxn>
                    <a:cxn ang="T142">
                      <a:pos x="T68" y="T69"/>
                    </a:cxn>
                    <a:cxn ang="T143">
                      <a:pos x="T70" y="T71"/>
                    </a:cxn>
                    <a:cxn ang="T144">
                      <a:pos x="T72" y="T73"/>
                    </a:cxn>
                    <a:cxn ang="T145">
                      <a:pos x="T74" y="T75"/>
                    </a:cxn>
                    <a:cxn ang="T146">
                      <a:pos x="T76" y="T77"/>
                    </a:cxn>
                    <a:cxn ang="T147">
                      <a:pos x="T78" y="T79"/>
                    </a:cxn>
                    <a:cxn ang="T148">
                      <a:pos x="T80" y="T81"/>
                    </a:cxn>
                    <a:cxn ang="T149">
                      <a:pos x="T82" y="T83"/>
                    </a:cxn>
                    <a:cxn ang="T150">
                      <a:pos x="T84" y="T85"/>
                    </a:cxn>
                    <a:cxn ang="T151">
                      <a:pos x="T86" y="T87"/>
                    </a:cxn>
                    <a:cxn ang="T152">
                      <a:pos x="T88" y="T89"/>
                    </a:cxn>
                    <a:cxn ang="T153">
                      <a:pos x="T90" y="T91"/>
                    </a:cxn>
                    <a:cxn ang="T154">
                      <a:pos x="T92" y="T93"/>
                    </a:cxn>
                    <a:cxn ang="T155">
                      <a:pos x="T94" y="T95"/>
                    </a:cxn>
                    <a:cxn ang="T156">
                      <a:pos x="T96" y="T97"/>
                    </a:cxn>
                    <a:cxn ang="T157">
                      <a:pos x="T98" y="T99"/>
                    </a:cxn>
                    <a:cxn ang="T158">
                      <a:pos x="T100" y="T101"/>
                    </a:cxn>
                    <a:cxn ang="T159">
                      <a:pos x="T102" y="T103"/>
                    </a:cxn>
                    <a:cxn ang="T160">
                      <a:pos x="T104" y="T105"/>
                    </a:cxn>
                    <a:cxn ang="T161">
                      <a:pos x="T106" y="T107"/>
                    </a:cxn>
                  </a:cxnLst>
                  <a:rect l="T162" t="T163" r="T164" b="T165"/>
                  <a:pathLst>
                    <a:path w="2216" h="3717">
                      <a:moveTo>
                        <a:pt x="1894" y="1674"/>
                      </a:moveTo>
                      <a:cubicBezTo>
                        <a:pt x="1900" y="1653"/>
                        <a:pt x="1915" y="1628"/>
                        <a:pt x="1921" y="1614"/>
                      </a:cubicBezTo>
                      <a:cubicBezTo>
                        <a:pt x="1927" y="1600"/>
                        <a:pt x="1929" y="1596"/>
                        <a:pt x="1930" y="1587"/>
                      </a:cubicBezTo>
                      <a:cubicBezTo>
                        <a:pt x="1931" y="1578"/>
                        <a:pt x="1925" y="1568"/>
                        <a:pt x="1927" y="1560"/>
                      </a:cubicBezTo>
                      <a:cubicBezTo>
                        <a:pt x="1929" y="1552"/>
                        <a:pt x="1940" y="1545"/>
                        <a:pt x="1945" y="1536"/>
                      </a:cubicBezTo>
                      <a:cubicBezTo>
                        <a:pt x="1950" y="1527"/>
                        <a:pt x="1951" y="1519"/>
                        <a:pt x="1954" y="1506"/>
                      </a:cubicBezTo>
                      <a:cubicBezTo>
                        <a:pt x="1957" y="1493"/>
                        <a:pt x="1960" y="1483"/>
                        <a:pt x="1966" y="1458"/>
                      </a:cubicBezTo>
                      <a:cubicBezTo>
                        <a:pt x="1972" y="1433"/>
                        <a:pt x="1984" y="1387"/>
                        <a:pt x="1990" y="1356"/>
                      </a:cubicBezTo>
                      <a:cubicBezTo>
                        <a:pt x="1996" y="1325"/>
                        <a:pt x="1998" y="1292"/>
                        <a:pt x="2005" y="1272"/>
                      </a:cubicBezTo>
                      <a:cubicBezTo>
                        <a:pt x="2012" y="1252"/>
                        <a:pt x="2022" y="1244"/>
                        <a:pt x="2032" y="1236"/>
                      </a:cubicBezTo>
                      <a:cubicBezTo>
                        <a:pt x="2042" y="1228"/>
                        <a:pt x="2060" y="1229"/>
                        <a:pt x="2065" y="1221"/>
                      </a:cubicBezTo>
                      <a:cubicBezTo>
                        <a:pt x="2070" y="1213"/>
                        <a:pt x="2062" y="1195"/>
                        <a:pt x="2062" y="1185"/>
                      </a:cubicBezTo>
                      <a:cubicBezTo>
                        <a:pt x="2062" y="1175"/>
                        <a:pt x="2065" y="1167"/>
                        <a:pt x="2062" y="1158"/>
                      </a:cubicBezTo>
                      <a:cubicBezTo>
                        <a:pt x="2059" y="1149"/>
                        <a:pt x="2045" y="1138"/>
                        <a:pt x="2044" y="1128"/>
                      </a:cubicBezTo>
                      <a:cubicBezTo>
                        <a:pt x="2043" y="1118"/>
                        <a:pt x="2046" y="1103"/>
                        <a:pt x="2053" y="1095"/>
                      </a:cubicBezTo>
                      <a:cubicBezTo>
                        <a:pt x="2060" y="1087"/>
                        <a:pt x="2075" y="1088"/>
                        <a:pt x="2083" y="1080"/>
                      </a:cubicBezTo>
                      <a:cubicBezTo>
                        <a:pt x="2091" y="1072"/>
                        <a:pt x="2099" y="1057"/>
                        <a:pt x="2101" y="1047"/>
                      </a:cubicBezTo>
                      <a:cubicBezTo>
                        <a:pt x="2103" y="1037"/>
                        <a:pt x="2095" y="1027"/>
                        <a:pt x="2098" y="1017"/>
                      </a:cubicBezTo>
                      <a:cubicBezTo>
                        <a:pt x="2101" y="1007"/>
                        <a:pt x="2111" y="996"/>
                        <a:pt x="2116" y="987"/>
                      </a:cubicBezTo>
                      <a:cubicBezTo>
                        <a:pt x="2121" y="978"/>
                        <a:pt x="2123" y="967"/>
                        <a:pt x="2128" y="960"/>
                      </a:cubicBezTo>
                      <a:cubicBezTo>
                        <a:pt x="2133" y="953"/>
                        <a:pt x="2143" y="951"/>
                        <a:pt x="2146" y="942"/>
                      </a:cubicBezTo>
                      <a:cubicBezTo>
                        <a:pt x="2149" y="933"/>
                        <a:pt x="2143" y="914"/>
                        <a:pt x="2146" y="903"/>
                      </a:cubicBezTo>
                      <a:cubicBezTo>
                        <a:pt x="2149" y="892"/>
                        <a:pt x="2161" y="890"/>
                        <a:pt x="2167" y="873"/>
                      </a:cubicBezTo>
                      <a:cubicBezTo>
                        <a:pt x="2173" y="856"/>
                        <a:pt x="2180" y="822"/>
                        <a:pt x="2180" y="803"/>
                      </a:cubicBezTo>
                      <a:cubicBezTo>
                        <a:pt x="2180" y="784"/>
                        <a:pt x="2168" y="769"/>
                        <a:pt x="2164" y="759"/>
                      </a:cubicBezTo>
                      <a:cubicBezTo>
                        <a:pt x="2160" y="749"/>
                        <a:pt x="2156" y="749"/>
                        <a:pt x="2155" y="744"/>
                      </a:cubicBezTo>
                      <a:cubicBezTo>
                        <a:pt x="2154" y="739"/>
                        <a:pt x="2158" y="734"/>
                        <a:pt x="2161" y="729"/>
                      </a:cubicBezTo>
                      <a:cubicBezTo>
                        <a:pt x="2164" y="724"/>
                        <a:pt x="2170" y="727"/>
                        <a:pt x="2173" y="714"/>
                      </a:cubicBezTo>
                      <a:cubicBezTo>
                        <a:pt x="2176" y="701"/>
                        <a:pt x="2181" y="660"/>
                        <a:pt x="2179" y="648"/>
                      </a:cubicBezTo>
                      <a:cubicBezTo>
                        <a:pt x="2177" y="636"/>
                        <a:pt x="2162" y="647"/>
                        <a:pt x="2158" y="642"/>
                      </a:cubicBezTo>
                      <a:cubicBezTo>
                        <a:pt x="2154" y="637"/>
                        <a:pt x="2154" y="636"/>
                        <a:pt x="2155" y="618"/>
                      </a:cubicBezTo>
                      <a:cubicBezTo>
                        <a:pt x="2156" y="600"/>
                        <a:pt x="2164" y="557"/>
                        <a:pt x="2164" y="531"/>
                      </a:cubicBezTo>
                      <a:cubicBezTo>
                        <a:pt x="2164" y="505"/>
                        <a:pt x="2153" y="481"/>
                        <a:pt x="2158" y="459"/>
                      </a:cubicBezTo>
                      <a:cubicBezTo>
                        <a:pt x="2163" y="437"/>
                        <a:pt x="2186" y="415"/>
                        <a:pt x="2194" y="399"/>
                      </a:cubicBezTo>
                      <a:cubicBezTo>
                        <a:pt x="2202" y="383"/>
                        <a:pt x="2206" y="376"/>
                        <a:pt x="2209" y="363"/>
                      </a:cubicBezTo>
                      <a:cubicBezTo>
                        <a:pt x="2212" y="350"/>
                        <a:pt x="2216" y="333"/>
                        <a:pt x="2215" y="321"/>
                      </a:cubicBezTo>
                      <a:cubicBezTo>
                        <a:pt x="2214" y="309"/>
                        <a:pt x="2212" y="298"/>
                        <a:pt x="2206" y="291"/>
                      </a:cubicBezTo>
                      <a:cubicBezTo>
                        <a:pt x="2200" y="284"/>
                        <a:pt x="2186" y="286"/>
                        <a:pt x="2179" y="282"/>
                      </a:cubicBezTo>
                      <a:cubicBezTo>
                        <a:pt x="2172" y="278"/>
                        <a:pt x="2168" y="272"/>
                        <a:pt x="2164" y="264"/>
                      </a:cubicBezTo>
                      <a:cubicBezTo>
                        <a:pt x="2160" y="256"/>
                        <a:pt x="2158" y="245"/>
                        <a:pt x="2158" y="234"/>
                      </a:cubicBezTo>
                      <a:cubicBezTo>
                        <a:pt x="2158" y="223"/>
                        <a:pt x="2166" y="204"/>
                        <a:pt x="2161" y="198"/>
                      </a:cubicBezTo>
                      <a:cubicBezTo>
                        <a:pt x="2156" y="192"/>
                        <a:pt x="2149" y="196"/>
                        <a:pt x="2131" y="198"/>
                      </a:cubicBezTo>
                      <a:cubicBezTo>
                        <a:pt x="2113" y="200"/>
                        <a:pt x="2066" y="211"/>
                        <a:pt x="2050" y="210"/>
                      </a:cubicBezTo>
                      <a:cubicBezTo>
                        <a:pt x="2034" y="209"/>
                        <a:pt x="2034" y="198"/>
                        <a:pt x="2035" y="189"/>
                      </a:cubicBezTo>
                      <a:cubicBezTo>
                        <a:pt x="2036" y="180"/>
                        <a:pt x="2046" y="169"/>
                        <a:pt x="2053" y="156"/>
                      </a:cubicBezTo>
                      <a:cubicBezTo>
                        <a:pt x="2060" y="143"/>
                        <a:pt x="2072" y="127"/>
                        <a:pt x="2080" y="108"/>
                      </a:cubicBezTo>
                      <a:cubicBezTo>
                        <a:pt x="2088" y="89"/>
                        <a:pt x="2097" y="57"/>
                        <a:pt x="2101" y="39"/>
                      </a:cubicBezTo>
                      <a:cubicBezTo>
                        <a:pt x="2105" y="21"/>
                        <a:pt x="2108" y="0"/>
                        <a:pt x="2104" y="0"/>
                      </a:cubicBezTo>
                      <a:cubicBezTo>
                        <a:pt x="2100" y="0"/>
                        <a:pt x="2084" y="27"/>
                        <a:pt x="2074" y="36"/>
                      </a:cubicBezTo>
                      <a:cubicBezTo>
                        <a:pt x="2064" y="45"/>
                        <a:pt x="2053" y="51"/>
                        <a:pt x="2044" y="57"/>
                      </a:cubicBezTo>
                      <a:cubicBezTo>
                        <a:pt x="2035" y="63"/>
                        <a:pt x="2031" y="65"/>
                        <a:pt x="2020" y="72"/>
                      </a:cubicBezTo>
                      <a:cubicBezTo>
                        <a:pt x="2009" y="79"/>
                        <a:pt x="1995" y="97"/>
                        <a:pt x="1978" y="102"/>
                      </a:cubicBezTo>
                      <a:cubicBezTo>
                        <a:pt x="1961" y="107"/>
                        <a:pt x="1944" y="103"/>
                        <a:pt x="1918" y="105"/>
                      </a:cubicBezTo>
                      <a:cubicBezTo>
                        <a:pt x="1892" y="107"/>
                        <a:pt x="1846" y="114"/>
                        <a:pt x="1819" y="117"/>
                      </a:cubicBezTo>
                      <a:cubicBezTo>
                        <a:pt x="1792" y="120"/>
                        <a:pt x="1772" y="121"/>
                        <a:pt x="1756" y="123"/>
                      </a:cubicBezTo>
                      <a:cubicBezTo>
                        <a:pt x="1740" y="125"/>
                        <a:pt x="1731" y="127"/>
                        <a:pt x="1720" y="129"/>
                      </a:cubicBezTo>
                      <a:cubicBezTo>
                        <a:pt x="1709" y="131"/>
                        <a:pt x="1702" y="132"/>
                        <a:pt x="1690" y="138"/>
                      </a:cubicBezTo>
                      <a:cubicBezTo>
                        <a:pt x="1678" y="144"/>
                        <a:pt x="1660" y="157"/>
                        <a:pt x="1648" y="168"/>
                      </a:cubicBezTo>
                      <a:cubicBezTo>
                        <a:pt x="1636" y="179"/>
                        <a:pt x="1632" y="196"/>
                        <a:pt x="1621" y="204"/>
                      </a:cubicBezTo>
                      <a:cubicBezTo>
                        <a:pt x="1610" y="212"/>
                        <a:pt x="1592" y="211"/>
                        <a:pt x="1579" y="216"/>
                      </a:cubicBezTo>
                      <a:cubicBezTo>
                        <a:pt x="1566" y="221"/>
                        <a:pt x="1553" y="222"/>
                        <a:pt x="1543" y="231"/>
                      </a:cubicBezTo>
                      <a:cubicBezTo>
                        <a:pt x="1533" y="240"/>
                        <a:pt x="1528" y="253"/>
                        <a:pt x="1516" y="270"/>
                      </a:cubicBezTo>
                      <a:cubicBezTo>
                        <a:pt x="1504" y="287"/>
                        <a:pt x="1485" y="315"/>
                        <a:pt x="1471" y="330"/>
                      </a:cubicBezTo>
                      <a:cubicBezTo>
                        <a:pt x="1457" y="345"/>
                        <a:pt x="1446" y="362"/>
                        <a:pt x="1432" y="360"/>
                      </a:cubicBezTo>
                      <a:cubicBezTo>
                        <a:pt x="1418" y="358"/>
                        <a:pt x="1409" y="325"/>
                        <a:pt x="1384" y="318"/>
                      </a:cubicBezTo>
                      <a:cubicBezTo>
                        <a:pt x="1359" y="311"/>
                        <a:pt x="1308" y="318"/>
                        <a:pt x="1282" y="318"/>
                      </a:cubicBezTo>
                      <a:cubicBezTo>
                        <a:pt x="1256" y="318"/>
                        <a:pt x="1241" y="315"/>
                        <a:pt x="1225" y="318"/>
                      </a:cubicBezTo>
                      <a:cubicBezTo>
                        <a:pt x="1209" y="321"/>
                        <a:pt x="1190" y="326"/>
                        <a:pt x="1186" y="339"/>
                      </a:cubicBezTo>
                      <a:cubicBezTo>
                        <a:pt x="1182" y="352"/>
                        <a:pt x="1202" y="381"/>
                        <a:pt x="1201" y="396"/>
                      </a:cubicBezTo>
                      <a:cubicBezTo>
                        <a:pt x="1200" y="411"/>
                        <a:pt x="1190" y="413"/>
                        <a:pt x="1177" y="432"/>
                      </a:cubicBezTo>
                      <a:cubicBezTo>
                        <a:pt x="1164" y="451"/>
                        <a:pt x="1141" y="486"/>
                        <a:pt x="1120" y="510"/>
                      </a:cubicBezTo>
                      <a:cubicBezTo>
                        <a:pt x="1099" y="534"/>
                        <a:pt x="1069" y="560"/>
                        <a:pt x="1051" y="576"/>
                      </a:cubicBezTo>
                      <a:cubicBezTo>
                        <a:pt x="1033" y="592"/>
                        <a:pt x="1021" y="600"/>
                        <a:pt x="1009" y="606"/>
                      </a:cubicBezTo>
                      <a:cubicBezTo>
                        <a:pt x="997" y="612"/>
                        <a:pt x="989" y="615"/>
                        <a:pt x="979" y="615"/>
                      </a:cubicBezTo>
                      <a:cubicBezTo>
                        <a:pt x="969" y="615"/>
                        <a:pt x="954" y="617"/>
                        <a:pt x="946" y="606"/>
                      </a:cubicBezTo>
                      <a:cubicBezTo>
                        <a:pt x="938" y="595"/>
                        <a:pt x="932" y="542"/>
                        <a:pt x="931" y="549"/>
                      </a:cubicBezTo>
                      <a:cubicBezTo>
                        <a:pt x="930" y="556"/>
                        <a:pt x="938" y="613"/>
                        <a:pt x="937" y="651"/>
                      </a:cubicBezTo>
                      <a:cubicBezTo>
                        <a:pt x="936" y="689"/>
                        <a:pt x="929" y="746"/>
                        <a:pt x="928" y="777"/>
                      </a:cubicBezTo>
                      <a:cubicBezTo>
                        <a:pt x="927" y="808"/>
                        <a:pt x="935" y="815"/>
                        <a:pt x="931" y="837"/>
                      </a:cubicBezTo>
                      <a:cubicBezTo>
                        <a:pt x="927" y="859"/>
                        <a:pt x="912" y="889"/>
                        <a:pt x="901" y="912"/>
                      </a:cubicBezTo>
                      <a:cubicBezTo>
                        <a:pt x="890" y="935"/>
                        <a:pt x="885" y="968"/>
                        <a:pt x="868" y="978"/>
                      </a:cubicBezTo>
                      <a:cubicBezTo>
                        <a:pt x="851" y="988"/>
                        <a:pt x="814" y="965"/>
                        <a:pt x="796" y="972"/>
                      </a:cubicBezTo>
                      <a:cubicBezTo>
                        <a:pt x="778" y="979"/>
                        <a:pt x="770" y="1005"/>
                        <a:pt x="760" y="1020"/>
                      </a:cubicBezTo>
                      <a:cubicBezTo>
                        <a:pt x="750" y="1035"/>
                        <a:pt x="744" y="1053"/>
                        <a:pt x="733" y="1065"/>
                      </a:cubicBezTo>
                      <a:cubicBezTo>
                        <a:pt x="722" y="1077"/>
                        <a:pt x="716" y="1085"/>
                        <a:pt x="694" y="1095"/>
                      </a:cubicBezTo>
                      <a:cubicBezTo>
                        <a:pt x="672" y="1105"/>
                        <a:pt x="630" y="1119"/>
                        <a:pt x="604" y="1128"/>
                      </a:cubicBezTo>
                      <a:cubicBezTo>
                        <a:pt x="578" y="1137"/>
                        <a:pt x="559" y="1140"/>
                        <a:pt x="538" y="1149"/>
                      </a:cubicBezTo>
                      <a:cubicBezTo>
                        <a:pt x="517" y="1158"/>
                        <a:pt x="511" y="1175"/>
                        <a:pt x="481" y="1179"/>
                      </a:cubicBezTo>
                      <a:cubicBezTo>
                        <a:pt x="451" y="1183"/>
                        <a:pt x="387" y="1168"/>
                        <a:pt x="358" y="1176"/>
                      </a:cubicBezTo>
                      <a:cubicBezTo>
                        <a:pt x="329" y="1184"/>
                        <a:pt x="325" y="1203"/>
                        <a:pt x="307" y="1227"/>
                      </a:cubicBezTo>
                      <a:cubicBezTo>
                        <a:pt x="289" y="1251"/>
                        <a:pt x="261" y="1296"/>
                        <a:pt x="247" y="1320"/>
                      </a:cubicBezTo>
                      <a:cubicBezTo>
                        <a:pt x="233" y="1344"/>
                        <a:pt x="234" y="1358"/>
                        <a:pt x="223" y="1371"/>
                      </a:cubicBezTo>
                      <a:cubicBezTo>
                        <a:pt x="212" y="1384"/>
                        <a:pt x="204" y="1392"/>
                        <a:pt x="181" y="1401"/>
                      </a:cubicBezTo>
                      <a:cubicBezTo>
                        <a:pt x="158" y="1410"/>
                        <a:pt x="112" y="1418"/>
                        <a:pt x="88" y="1425"/>
                      </a:cubicBezTo>
                      <a:cubicBezTo>
                        <a:pt x="64" y="1432"/>
                        <a:pt x="48" y="1439"/>
                        <a:pt x="34" y="1446"/>
                      </a:cubicBezTo>
                      <a:cubicBezTo>
                        <a:pt x="20" y="1453"/>
                        <a:pt x="8" y="1459"/>
                        <a:pt x="4" y="1467"/>
                      </a:cubicBezTo>
                      <a:cubicBezTo>
                        <a:pt x="0" y="1475"/>
                        <a:pt x="3" y="1487"/>
                        <a:pt x="7" y="1497"/>
                      </a:cubicBezTo>
                      <a:cubicBezTo>
                        <a:pt x="11" y="1507"/>
                        <a:pt x="12" y="1513"/>
                        <a:pt x="31" y="1527"/>
                      </a:cubicBezTo>
                      <a:cubicBezTo>
                        <a:pt x="50" y="1541"/>
                        <a:pt x="84" y="1561"/>
                        <a:pt x="121" y="1581"/>
                      </a:cubicBezTo>
                      <a:cubicBezTo>
                        <a:pt x="158" y="1601"/>
                        <a:pt x="206" y="1619"/>
                        <a:pt x="256" y="1644"/>
                      </a:cubicBezTo>
                      <a:cubicBezTo>
                        <a:pt x="306" y="1669"/>
                        <a:pt x="380" y="1702"/>
                        <a:pt x="424" y="1731"/>
                      </a:cubicBezTo>
                      <a:cubicBezTo>
                        <a:pt x="468" y="1760"/>
                        <a:pt x="496" y="1795"/>
                        <a:pt x="520" y="1818"/>
                      </a:cubicBezTo>
                      <a:cubicBezTo>
                        <a:pt x="544" y="1841"/>
                        <a:pt x="555" y="1861"/>
                        <a:pt x="571" y="1872"/>
                      </a:cubicBezTo>
                      <a:cubicBezTo>
                        <a:pt x="587" y="1883"/>
                        <a:pt x="603" y="1881"/>
                        <a:pt x="616" y="1884"/>
                      </a:cubicBezTo>
                      <a:cubicBezTo>
                        <a:pt x="629" y="1887"/>
                        <a:pt x="639" y="1887"/>
                        <a:pt x="652" y="1893"/>
                      </a:cubicBezTo>
                      <a:cubicBezTo>
                        <a:pt x="665" y="1899"/>
                        <a:pt x="686" y="1907"/>
                        <a:pt x="694" y="1920"/>
                      </a:cubicBezTo>
                      <a:cubicBezTo>
                        <a:pt x="702" y="1933"/>
                        <a:pt x="698" y="1954"/>
                        <a:pt x="697" y="1974"/>
                      </a:cubicBezTo>
                      <a:cubicBezTo>
                        <a:pt x="696" y="1994"/>
                        <a:pt x="690" y="2018"/>
                        <a:pt x="685" y="2043"/>
                      </a:cubicBezTo>
                      <a:cubicBezTo>
                        <a:pt x="680" y="2068"/>
                        <a:pt x="673" y="2099"/>
                        <a:pt x="664" y="2124"/>
                      </a:cubicBezTo>
                      <a:cubicBezTo>
                        <a:pt x="655" y="2149"/>
                        <a:pt x="643" y="2166"/>
                        <a:pt x="631" y="2193"/>
                      </a:cubicBezTo>
                      <a:cubicBezTo>
                        <a:pt x="619" y="2220"/>
                        <a:pt x="602" y="2265"/>
                        <a:pt x="592" y="2289"/>
                      </a:cubicBezTo>
                      <a:cubicBezTo>
                        <a:pt x="582" y="2313"/>
                        <a:pt x="577" y="2319"/>
                        <a:pt x="571" y="2337"/>
                      </a:cubicBezTo>
                      <a:cubicBezTo>
                        <a:pt x="565" y="2355"/>
                        <a:pt x="568" y="2372"/>
                        <a:pt x="553" y="2400"/>
                      </a:cubicBezTo>
                      <a:cubicBezTo>
                        <a:pt x="538" y="2428"/>
                        <a:pt x="501" y="2480"/>
                        <a:pt x="484" y="2505"/>
                      </a:cubicBezTo>
                      <a:cubicBezTo>
                        <a:pt x="467" y="2530"/>
                        <a:pt x="449" y="2541"/>
                        <a:pt x="448" y="2553"/>
                      </a:cubicBezTo>
                      <a:cubicBezTo>
                        <a:pt x="447" y="2565"/>
                        <a:pt x="460" y="2568"/>
                        <a:pt x="475" y="2580"/>
                      </a:cubicBezTo>
                      <a:cubicBezTo>
                        <a:pt x="490" y="2592"/>
                        <a:pt x="534" y="2603"/>
                        <a:pt x="538" y="2625"/>
                      </a:cubicBezTo>
                      <a:cubicBezTo>
                        <a:pt x="542" y="2647"/>
                        <a:pt x="520" y="2675"/>
                        <a:pt x="502" y="2712"/>
                      </a:cubicBezTo>
                      <a:cubicBezTo>
                        <a:pt x="484" y="2749"/>
                        <a:pt x="452" y="2809"/>
                        <a:pt x="433" y="2850"/>
                      </a:cubicBezTo>
                      <a:cubicBezTo>
                        <a:pt x="414" y="2891"/>
                        <a:pt x="402" y="2922"/>
                        <a:pt x="391" y="2961"/>
                      </a:cubicBezTo>
                      <a:cubicBezTo>
                        <a:pt x="380" y="3000"/>
                        <a:pt x="385" y="3065"/>
                        <a:pt x="365" y="3086"/>
                      </a:cubicBezTo>
                      <a:cubicBezTo>
                        <a:pt x="345" y="3107"/>
                        <a:pt x="296" y="3092"/>
                        <a:pt x="268" y="3090"/>
                      </a:cubicBezTo>
                      <a:cubicBezTo>
                        <a:pt x="240" y="3088"/>
                        <a:pt x="212" y="3080"/>
                        <a:pt x="199" y="3075"/>
                      </a:cubicBezTo>
                      <a:cubicBezTo>
                        <a:pt x="186" y="3070"/>
                        <a:pt x="190" y="3062"/>
                        <a:pt x="187" y="3057"/>
                      </a:cubicBezTo>
                      <a:cubicBezTo>
                        <a:pt x="184" y="3052"/>
                        <a:pt x="180" y="3051"/>
                        <a:pt x="179" y="3043"/>
                      </a:cubicBezTo>
                      <a:cubicBezTo>
                        <a:pt x="178" y="3035"/>
                        <a:pt x="178" y="3023"/>
                        <a:pt x="181" y="3009"/>
                      </a:cubicBezTo>
                      <a:cubicBezTo>
                        <a:pt x="184" y="2995"/>
                        <a:pt x="195" y="2971"/>
                        <a:pt x="199" y="2959"/>
                      </a:cubicBezTo>
                      <a:cubicBezTo>
                        <a:pt x="203" y="2947"/>
                        <a:pt x="206" y="2946"/>
                        <a:pt x="208" y="2937"/>
                      </a:cubicBezTo>
                      <a:cubicBezTo>
                        <a:pt x="210" y="2928"/>
                        <a:pt x="215" y="2913"/>
                        <a:pt x="211" y="2907"/>
                      </a:cubicBezTo>
                      <a:cubicBezTo>
                        <a:pt x="207" y="2901"/>
                        <a:pt x="192" y="2902"/>
                        <a:pt x="184" y="2901"/>
                      </a:cubicBezTo>
                      <a:cubicBezTo>
                        <a:pt x="176" y="2900"/>
                        <a:pt x="174" y="2899"/>
                        <a:pt x="160" y="2901"/>
                      </a:cubicBezTo>
                      <a:cubicBezTo>
                        <a:pt x="146" y="2903"/>
                        <a:pt x="116" y="2907"/>
                        <a:pt x="100" y="2913"/>
                      </a:cubicBezTo>
                      <a:cubicBezTo>
                        <a:pt x="84" y="2919"/>
                        <a:pt x="66" y="2929"/>
                        <a:pt x="61" y="2940"/>
                      </a:cubicBezTo>
                      <a:cubicBezTo>
                        <a:pt x="56" y="2951"/>
                        <a:pt x="68" y="2968"/>
                        <a:pt x="73" y="2976"/>
                      </a:cubicBezTo>
                      <a:cubicBezTo>
                        <a:pt x="78" y="2984"/>
                        <a:pt x="86" y="2987"/>
                        <a:pt x="91" y="2991"/>
                      </a:cubicBezTo>
                      <a:cubicBezTo>
                        <a:pt x="96" y="2995"/>
                        <a:pt x="95" y="2994"/>
                        <a:pt x="106" y="3000"/>
                      </a:cubicBezTo>
                      <a:cubicBezTo>
                        <a:pt x="117" y="3006"/>
                        <a:pt x="140" y="3012"/>
                        <a:pt x="156" y="3025"/>
                      </a:cubicBezTo>
                      <a:cubicBezTo>
                        <a:pt x="172" y="3038"/>
                        <a:pt x="187" y="3051"/>
                        <a:pt x="199" y="3078"/>
                      </a:cubicBezTo>
                      <a:cubicBezTo>
                        <a:pt x="211" y="3105"/>
                        <a:pt x="222" y="3159"/>
                        <a:pt x="226" y="3186"/>
                      </a:cubicBezTo>
                      <a:cubicBezTo>
                        <a:pt x="230" y="3213"/>
                        <a:pt x="225" y="3221"/>
                        <a:pt x="223" y="3237"/>
                      </a:cubicBezTo>
                      <a:cubicBezTo>
                        <a:pt x="221" y="3253"/>
                        <a:pt x="213" y="3270"/>
                        <a:pt x="211" y="3282"/>
                      </a:cubicBezTo>
                      <a:cubicBezTo>
                        <a:pt x="209" y="3294"/>
                        <a:pt x="210" y="3299"/>
                        <a:pt x="211" y="3312"/>
                      </a:cubicBezTo>
                      <a:cubicBezTo>
                        <a:pt x="212" y="3325"/>
                        <a:pt x="212" y="3347"/>
                        <a:pt x="217" y="3363"/>
                      </a:cubicBezTo>
                      <a:cubicBezTo>
                        <a:pt x="222" y="3379"/>
                        <a:pt x="232" y="3389"/>
                        <a:pt x="238" y="3408"/>
                      </a:cubicBezTo>
                      <a:cubicBezTo>
                        <a:pt x="244" y="3427"/>
                        <a:pt x="256" y="3452"/>
                        <a:pt x="256" y="3477"/>
                      </a:cubicBezTo>
                      <a:cubicBezTo>
                        <a:pt x="256" y="3502"/>
                        <a:pt x="244" y="3531"/>
                        <a:pt x="241" y="3558"/>
                      </a:cubicBezTo>
                      <a:cubicBezTo>
                        <a:pt x="238" y="3585"/>
                        <a:pt x="235" y="3621"/>
                        <a:pt x="235" y="3639"/>
                      </a:cubicBezTo>
                      <a:cubicBezTo>
                        <a:pt x="235" y="3657"/>
                        <a:pt x="237" y="3666"/>
                        <a:pt x="241" y="3669"/>
                      </a:cubicBezTo>
                      <a:cubicBezTo>
                        <a:pt x="245" y="3672"/>
                        <a:pt x="249" y="3659"/>
                        <a:pt x="258" y="3655"/>
                      </a:cubicBezTo>
                      <a:cubicBezTo>
                        <a:pt x="267" y="3651"/>
                        <a:pt x="287" y="3642"/>
                        <a:pt x="298" y="3645"/>
                      </a:cubicBezTo>
                      <a:cubicBezTo>
                        <a:pt x="309" y="3648"/>
                        <a:pt x="319" y="3663"/>
                        <a:pt x="325" y="3675"/>
                      </a:cubicBezTo>
                      <a:cubicBezTo>
                        <a:pt x="331" y="3687"/>
                        <a:pt x="336" y="3717"/>
                        <a:pt x="334" y="3717"/>
                      </a:cubicBezTo>
                      <a:cubicBezTo>
                        <a:pt x="332" y="3717"/>
                        <a:pt x="338" y="3696"/>
                        <a:pt x="340" y="3672"/>
                      </a:cubicBezTo>
                      <a:cubicBezTo>
                        <a:pt x="342" y="3648"/>
                        <a:pt x="346" y="3603"/>
                        <a:pt x="349" y="3573"/>
                      </a:cubicBezTo>
                      <a:cubicBezTo>
                        <a:pt x="352" y="3543"/>
                        <a:pt x="356" y="3516"/>
                        <a:pt x="361" y="3489"/>
                      </a:cubicBezTo>
                      <a:cubicBezTo>
                        <a:pt x="366" y="3462"/>
                        <a:pt x="371" y="3436"/>
                        <a:pt x="379" y="3408"/>
                      </a:cubicBezTo>
                      <a:cubicBezTo>
                        <a:pt x="387" y="3380"/>
                        <a:pt x="403" y="3345"/>
                        <a:pt x="412" y="3318"/>
                      </a:cubicBezTo>
                      <a:cubicBezTo>
                        <a:pt x="421" y="3291"/>
                        <a:pt x="427" y="3268"/>
                        <a:pt x="433" y="3246"/>
                      </a:cubicBezTo>
                      <a:cubicBezTo>
                        <a:pt x="439" y="3224"/>
                        <a:pt x="443" y="3201"/>
                        <a:pt x="448" y="3183"/>
                      </a:cubicBezTo>
                      <a:cubicBezTo>
                        <a:pt x="453" y="3165"/>
                        <a:pt x="454" y="3157"/>
                        <a:pt x="466" y="3138"/>
                      </a:cubicBezTo>
                      <a:cubicBezTo>
                        <a:pt x="478" y="3119"/>
                        <a:pt x="511" y="3079"/>
                        <a:pt x="523" y="3066"/>
                      </a:cubicBezTo>
                      <a:cubicBezTo>
                        <a:pt x="535" y="3053"/>
                        <a:pt x="535" y="3066"/>
                        <a:pt x="538" y="3060"/>
                      </a:cubicBezTo>
                      <a:cubicBezTo>
                        <a:pt x="541" y="3054"/>
                        <a:pt x="533" y="3047"/>
                        <a:pt x="541" y="3030"/>
                      </a:cubicBezTo>
                      <a:cubicBezTo>
                        <a:pt x="549" y="3013"/>
                        <a:pt x="581" y="2978"/>
                        <a:pt x="589" y="2956"/>
                      </a:cubicBezTo>
                      <a:cubicBezTo>
                        <a:pt x="597" y="2934"/>
                        <a:pt x="578" y="2917"/>
                        <a:pt x="589" y="2895"/>
                      </a:cubicBezTo>
                      <a:cubicBezTo>
                        <a:pt x="600" y="2873"/>
                        <a:pt x="643" y="2846"/>
                        <a:pt x="655" y="2821"/>
                      </a:cubicBezTo>
                      <a:cubicBezTo>
                        <a:pt x="667" y="2796"/>
                        <a:pt x="660" y="2769"/>
                        <a:pt x="660" y="2750"/>
                      </a:cubicBezTo>
                      <a:cubicBezTo>
                        <a:pt x="660" y="2730"/>
                        <a:pt x="650" y="2718"/>
                        <a:pt x="653" y="2701"/>
                      </a:cubicBezTo>
                      <a:cubicBezTo>
                        <a:pt x="655" y="2684"/>
                        <a:pt x="661" y="2668"/>
                        <a:pt x="676" y="2648"/>
                      </a:cubicBezTo>
                      <a:cubicBezTo>
                        <a:pt x="690" y="2627"/>
                        <a:pt x="726" y="2602"/>
                        <a:pt x="742" y="2579"/>
                      </a:cubicBezTo>
                      <a:cubicBezTo>
                        <a:pt x="758" y="2556"/>
                        <a:pt x="767" y="2535"/>
                        <a:pt x="772" y="2510"/>
                      </a:cubicBezTo>
                      <a:cubicBezTo>
                        <a:pt x="778" y="2485"/>
                        <a:pt x="784" y="2445"/>
                        <a:pt x="780" y="2431"/>
                      </a:cubicBezTo>
                      <a:cubicBezTo>
                        <a:pt x="776" y="2416"/>
                        <a:pt x="753" y="2431"/>
                        <a:pt x="747" y="2423"/>
                      </a:cubicBezTo>
                      <a:cubicBezTo>
                        <a:pt x="741" y="2415"/>
                        <a:pt x="741" y="2400"/>
                        <a:pt x="742" y="2385"/>
                      </a:cubicBezTo>
                      <a:cubicBezTo>
                        <a:pt x="743" y="2370"/>
                        <a:pt x="751" y="2342"/>
                        <a:pt x="752" y="2329"/>
                      </a:cubicBezTo>
                      <a:cubicBezTo>
                        <a:pt x="753" y="2315"/>
                        <a:pt x="751" y="2322"/>
                        <a:pt x="747" y="2301"/>
                      </a:cubicBezTo>
                      <a:cubicBezTo>
                        <a:pt x="743" y="2279"/>
                        <a:pt x="735" y="2222"/>
                        <a:pt x="727" y="2199"/>
                      </a:cubicBezTo>
                      <a:cubicBezTo>
                        <a:pt x="718" y="2176"/>
                        <a:pt x="702" y="2175"/>
                        <a:pt x="696" y="2163"/>
                      </a:cubicBezTo>
                      <a:cubicBezTo>
                        <a:pt x="690" y="2151"/>
                        <a:pt x="688" y="2137"/>
                        <a:pt x="688" y="2125"/>
                      </a:cubicBezTo>
                      <a:cubicBezTo>
                        <a:pt x="688" y="2112"/>
                        <a:pt x="693" y="2101"/>
                        <a:pt x="696" y="2086"/>
                      </a:cubicBezTo>
                      <a:cubicBezTo>
                        <a:pt x="699" y="2072"/>
                        <a:pt x="703" y="2048"/>
                        <a:pt x="709" y="2035"/>
                      </a:cubicBezTo>
                      <a:cubicBezTo>
                        <a:pt x="715" y="2023"/>
                        <a:pt x="721" y="2017"/>
                        <a:pt x="732" y="2007"/>
                      </a:cubicBezTo>
                      <a:cubicBezTo>
                        <a:pt x="742" y="1998"/>
                        <a:pt x="758" y="1986"/>
                        <a:pt x="772" y="1977"/>
                      </a:cubicBezTo>
                      <a:cubicBezTo>
                        <a:pt x="787" y="1967"/>
                        <a:pt x="808" y="1962"/>
                        <a:pt x="821" y="1951"/>
                      </a:cubicBezTo>
                      <a:cubicBezTo>
                        <a:pt x="834" y="1940"/>
                        <a:pt x="837" y="1929"/>
                        <a:pt x="846" y="1913"/>
                      </a:cubicBezTo>
                      <a:cubicBezTo>
                        <a:pt x="856" y="1897"/>
                        <a:pt x="860" y="1881"/>
                        <a:pt x="877" y="1857"/>
                      </a:cubicBezTo>
                      <a:cubicBezTo>
                        <a:pt x="894" y="1833"/>
                        <a:pt x="929" y="1785"/>
                        <a:pt x="951" y="1768"/>
                      </a:cubicBezTo>
                      <a:cubicBezTo>
                        <a:pt x="973" y="1751"/>
                        <a:pt x="988" y="1760"/>
                        <a:pt x="1010" y="1755"/>
                      </a:cubicBezTo>
                      <a:cubicBezTo>
                        <a:pt x="1031" y="1750"/>
                        <a:pt x="1055" y="1738"/>
                        <a:pt x="1078" y="1737"/>
                      </a:cubicBezTo>
                      <a:cubicBezTo>
                        <a:pt x="1101" y="1736"/>
                        <a:pt x="1134" y="1742"/>
                        <a:pt x="1150" y="1747"/>
                      </a:cubicBezTo>
                      <a:cubicBezTo>
                        <a:pt x="1166" y="1752"/>
                        <a:pt x="1166" y="1766"/>
                        <a:pt x="1175" y="1770"/>
                      </a:cubicBezTo>
                      <a:cubicBezTo>
                        <a:pt x="1185" y="1774"/>
                        <a:pt x="1190" y="1765"/>
                        <a:pt x="1203" y="1770"/>
                      </a:cubicBezTo>
                      <a:cubicBezTo>
                        <a:pt x="1217" y="1775"/>
                        <a:pt x="1247" y="1791"/>
                        <a:pt x="1259" y="1803"/>
                      </a:cubicBezTo>
                      <a:cubicBezTo>
                        <a:pt x="1272" y="1816"/>
                        <a:pt x="1272" y="1839"/>
                        <a:pt x="1280" y="1847"/>
                      </a:cubicBezTo>
                      <a:cubicBezTo>
                        <a:pt x="1287" y="1854"/>
                        <a:pt x="1299" y="1847"/>
                        <a:pt x="1305" y="1849"/>
                      </a:cubicBezTo>
                      <a:cubicBezTo>
                        <a:pt x="1311" y="1852"/>
                        <a:pt x="1314" y="1854"/>
                        <a:pt x="1318" y="1862"/>
                      </a:cubicBezTo>
                      <a:cubicBezTo>
                        <a:pt x="1322" y="1870"/>
                        <a:pt x="1330" y="1889"/>
                        <a:pt x="1333" y="1895"/>
                      </a:cubicBezTo>
                      <a:cubicBezTo>
                        <a:pt x="1337" y="1901"/>
                        <a:pt x="1338" y="1890"/>
                        <a:pt x="1341" y="1898"/>
                      </a:cubicBezTo>
                      <a:cubicBezTo>
                        <a:pt x="1343" y="1905"/>
                        <a:pt x="1344" y="1932"/>
                        <a:pt x="1349" y="1944"/>
                      </a:cubicBezTo>
                      <a:cubicBezTo>
                        <a:pt x="1353" y="1955"/>
                        <a:pt x="1366" y="1961"/>
                        <a:pt x="1366" y="1969"/>
                      </a:cubicBezTo>
                      <a:cubicBezTo>
                        <a:pt x="1367" y="1978"/>
                        <a:pt x="1349" y="1991"/>
                        <a:pt x="1354" y="1995"/>
                      </a:cubicBezTo>
                      <a:cubicBezTo>
                        <a:pt x="1358" y="1998"/>
                        <a:pt x="1374" y="1993"/>
                        <a:pt x="1392" y="1992"/>
                      </a:cubicBezTo>
                      <a:cubicBezTo>
                        <a:pt x="1410" y="1991"/>
                        <a:pt x="1443" y="1999"/>
                        <a:pt x="1461" y="1989"/>
                      </a:cubicBezTo>
                      <a:cubicBezTo>
                        <a:pt x="1479" y="1980"/>
                        <a:pt x="1489" y="1952"/>
                        <a:pt x="1499" y="1938"/>
                      </a:cubicBezTo>
                      <a:cubicBezTo>
                        <a:pt x="1509" y="1925"/>
                        <a:pt x="1517" y="1919"/>
                        <a:pt x="1522" y="1908"/>
                      </a:cubicBezTo>
                      <a:cubicBezTo>
                        <a:pt x="1527" y="1897"/>
                        <a:pt x="1525" y="1891"/>
                        <a:pt x="1530" y="1870"/>
                      </a:cubicBezTo>
                      <a:cubicBezTo>
                        <a:pt x="1534" y="1848"/>
                        <a:pt x="1547" y="1802"/>
                        <a:pt x="1547" y="1780"/>
                      </a:cubicBezTo>
                      <a:cubicBezTo>
                        <a:pt x="1548" y="1758"/>
                        <a:pt x="1535" y="1753"/>
                        <a:pt x="1532" y="1737"/>
                      </a:cubicBezTo>
                      <a:cubicBezTo>
                        <a:pt x="1530" y="1721"/>
                        <a:pt x="1517" y="1694"/>
                        <a:pt x="1530" y="1681"/>
                      </a:cubicBezTo>
                      <a:cubicBezTo>
                        <a:pt x="1542" y="1668"/>
                        <a:pt x="1591" y="1665"/>
                        <a:pt x="1609" y="1660"/>
                      </a:cubicBezTo>
                      <a:cubicBezTo>
                        <a:pt x="1626" y="1656"/>
                        <a:pt x="1629" y="1649"/>
                        <a:pt x="1639" y="1653"/>
                      </a:cubicBezTo>
                      <a:cubicBezTo>
                        <a:pt x="1649" y="1656"/>
                        <a:pt x="1656" y="1666"/>
                        <a:pt x="1670" y="1681"/>
                      </a:cubicBezTo>
                      <a:cubicBezTo>
                        <a:pt x="1683" y="1695"/>
                        <a:pt x="1700" y="1723"/>
                        <a:pt x="1721" y="1737"/>
                      </a:cubicBezTo>
                      <a:cubicBezTo>
                        <a:pt x="1741" y="1751"/>
                        <a:pt x="1774" y="1762"/>
                        <a:pt x="1792" y="1768"/>
                      </a:cubicBezTo>
                      <a:cubicBezTo>
                        <a:pt x="1810" y="1773"/>
                        <a:pt x="1815" y="1764"/>
                        <a:pt x="1828" y="1765"/>
                      </a:cubicBezTo>
                      <a:cubicBezTo>
                        <a:pt x="1841" y="1766"/>
                        <a:pt x="1865" y="1778"/>
                        <a:pt x="1873" y="1773"/>
                      </a:cubicBezTo>
                      <a:cubicBezTo>
                        <a:pt x="1881" y="1768"/>
                        <a:pt x="1876" y="1750"/>
                        <a:pt x="1879" y="1734"/>
                      </a:cubicBezTo>
                      <a:cubicBezTo>
                        <a:pt x="1882" y="1718"/>
                        <a:pt x="1891" y="1686"/>
                        <a:pt x="1894" y="1674"/>
                      </a:cubicBezTo>
                      <a:close/>
                    </a:path>
                  </a:pathLst>
                </a:custGeom>
                <a:solidFill>
                  <a:srgbClr val="FFCC99">
                    <a:alpha val="59999"/>
                  </a:srgbClr>
                </a:solidFill>
                <a:ln w="9525" cap="flat" cmpd="sng">
                  <a:solidFill>
                    <a:srgbClr val="FF9900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131" name="Freeform 18"/>
                <p:cNvSpPr>
                  <a:spLocks/>
                </p:cNvSpPr>
                <p:nvPr/>
              </p:nvSpPr>
              <p:spPr bwMode="auto">
                <a:xfrm>
                  <a:off x="2648" y="9284"/>
                  <a:ext cx="3928" cy="5055"/>
                </a:xfrm>
                <a:custGeom>
                  <a:avLst/>
                  <a:gdLst>
                    <a:gd name="T0" fmla="*/ 3204 w 3928"/>
                    <a:gd name="T1" fmla="*/ 274 h 5055"/>
                    <a:gd name="T2" fmla="*/ 3411 w 3928"/>
                    <a:gd name="T3" fmla="*/ 487 h 5055"/>
                    <a:gd name="T4" fmla="*/ 3621 w 3928"/>
                    <a:gd name="T5" fmla="*/ 430 h 5055"/>
                    <a:gd name="T6" fmla="*/ 3699 w 3928"/>
                    <a:gd name="T7" fmla="*/ 640 h 5055"/>
                    <a:gd name="T8" fmla="*/ 3651 w 3928"/>
                    <a:gd name="T9" fmla="*/ 727 h 5055"/>
                    <a:gd name="T10" fmla="*/ 3744 w 3928"/>
                    <a:gd name="T11" fmla="*/ 1006 h 5055"/>
                    <a:gd name="T12" fmla="*/ 3804 w 3928"/>
                    <a:gd name="T13" fmla="*/ 1049 h 5055"/>
                    <a:gd name="T14" fmla="*/ 3723 w 3928"/>
                    <a:gd name="T15" fmla="*/ 1402 h 5055"/>
                    <a:gd name="T16" fmla="*/ 3521 w 3928"/>
                    <a:gd name="T17" fmla="*/ 1636 h 5055"/>
                    <a:gd name="T18" fmla="*/ 3285 w 3928"/>
                    <a:gd name="T19" fmla="*/ 1651 h 5055"/>
                    <a:gd name="T20" fmla="*/ 2943 w 3928"/>
                    <a:gd name="T21" fmla="*/ 1423 h 5055"/>
                    <a:gd name="T22" fmla="*/ 2667 w 3928"/>
                    <a:gd name="T23" fmla="*/ 1588 h 5055"/>
                    <a:gd name="T24" fmla="*/ 2565 w 3928"/>
                    <a:gd name="T25" fmla="*/ 1957 h 5055"/>
                    <a:gd name="T26" fmla="*/ 2088 w 3928"/>
                    <a:gd name="T27" fmla="*/ 2695 h 5055"/>
                    <a:gd name="T28" fmla="*/ 1980 w 3928"/>
                    <a:gd name="T29" fmla="*/ 3379 h 5055"/>
                    <a:gd name="T30" fmla="*/ 1524 w 3928"/>
                    <a:gd name="T31" fmla="*/ 3586 h 5055"/>
                    <a:gd name="T32" fmla="*/ 1227 w 3928"/>
                    <a:gd name="T33" fmla="*/ 3604 h 5055"/>
                    <a:gd name="T34" fmla="*/ 1083 w 3928"/>
                    <a:gd name="T35" fmla="*/ 3943 h 5055"/>
                    <a:gd name="T36" fmla="*/ 1254 w 3928"/>
                    <a:gd name="T37" fmla="*/ 4147 h 5055"/>
                    <a:gd name="T38" fmla="*/ 921 w 3928"/>
                    <a:gd name="T39" fmla="*/ 4288 h 5055"/>
                    <a:gd name="T40" fmla="*/ 864 w 3928"/>
                    <a:gd name="T41" fmla="*/ 4513 h 5055"/>
                    <a:gd name="T42" fmla="*/ 792 w 3928"/>
                    <a:gd name="T43" fmla="*/ 4801 h 5055"/>
                    <a:gd name="T44" fmla="*/ 1047 w 3928"/>
                    <a:gd name="T45" fmla="*/ 4951 h 5055"/>
                    <a:gd name="T46" fmla="*/ 612 w 3928"/>
                    <a:gd name="T47" fmla="*/ 5029 h 5055"/>
                    <a:gd name="T48" fmla="*/ 336 w 3928"/>
                    <a:gd name="T49" fmla="*/ 5005 h 5055"/>
                    <a:gd name="T50" fmla="*/ 516 w 3928"/>
                    <a:gd name="T51" fmla="*/ 4837 h 5055"/>
                    <a:gd name="T52" fmla="*/ 426 w 3928"/>
                    <a:gd name="T53" fmla="*/ 4498 h 5055"/>
                    <a:gd name="T54" fmla="*/ 165 w 3928"/>
                    <a:gd name="T55" fmla="*/ 4486 h 5055"/>
                    <a:gd name="T56" fmla="*/ 9 w 3928"/>
                    <a:gd name="T57" fmla="*/ 4303 h 5055"/>
                    <a:gd name="T58" fmla="*/ 225 w 3928"/>
                    <a:gd name="T59" fmla="*/ 4231 h 5055"/>
                    <a:gd name="T60" fmla="*/ 546 w 3928"/>
                    <a:gd name="T61" fmla="*/ 4054 h 5055"/>
                    <a:gd name="T62" fmla="*/ 670 w 3928"/>
                    <a:gd name="T63" fmla="*/ 3909 h 5055"/>
                    <a:gd name="T64" fmla="*/ 903 w 3928"/>
                    <a:gd name="T65" fmla="*/ 3778 h 5055"/>
                    <a:gd name="T66" fmla="*/ 990 w 3928"/>
                    <a:gd name="T67" fmla="*/ 3448 h 5055"/>
                    <a:gd name="T68" fmla="*/ 979 w 3928"/>
                    <a:gd name="T69" fmla="*/ 3388 h 5055"/>
                    <a:gd name="T70" fmla="*/ 1215 w 3928"/>
                    <a:gd name="T71" fmla="*/ 3325 h 5055"/>
                    <a:gd name="T72" fmla="*/ 1383 w 3928"/>
                    <a:gd name="T73" fmla="*/ 3103 h 5055"/>
                    <a:gd name="T74" fmla="*/ 1329 w 3928"/>
                    <a:gd name="T75" fmla="*/ 3307 h 5055"/>
                    <a:gd name="T76" fmla="*/ 1392 w 3928"/>
                    <a:gd name="T77" fmla="*/ 3569 h 5055"/>
                    <a:gd name="T78" fmla="*/ 1893 w 3928"/>
                    <a:gd name="T79" fmla="*/ 3646 h 5055"/>
                    <a:gd name="T80" fmla="*/ 2004 w 3928"/>
                    <a:gd name="T81" fmla="*/ 2968 h 5055"/>
                    <a:gd name="T82" fmla="*/ 2508 w 3928"/>
                    <a:gd name="T83" fmla="*/ 2176 h 5055"/>
                    <a:gd name="T84" fmla="*/ 2682 w 3928"/>
                    <a:gd name="T85" fmla="*/ 1531 h 5055"/>
                    <a:gd name="T86" fmla="*/ 2521 w 3928"/>
                    <a:gd name="T87" fmla="*/ 1317 h 5055"/>
                    <a:gd name="T88" fmla="*/ 2073 w 3928"/>
                    <a:gd name="T89" fmla="*/ 1432 h 5055"/>
                    <a:gd name="T90" fmla="*/ 1944 w 3928"/>
                    <a:gd name="T91" fmla="*/ 1612 h 5055"/>
                    <a:gd name="T92" fmla="*/ 1854 w 3928"/>
                    <a:gd name="T93" fmla="*/ 1522 h 5055"/>
                    <a:gd name="T94" fmla="*/ 1770 w 3928"/>
                    <a:gd name="T95" fmla="*/ 1285 h 5055"/>
                    <a:gd name="T96" fmla="*/ 1851 w 3928"/>
                    <a:gd name="T97" fmla="*/ 1027 h 5055"/>
                    <a:gd name="T98" fmla="*/ 1962 w 3928"/>
                    <a:gd name="T99" fmla="*/ 775 h 5055"/>
                    <a:gd name="T100" fmla="*/ 1917 w 3928"/>
                    <a:gd name="T101" fmla="*/ 538 h 5055"/>
                    <a:gd name="T102" fmla="*/ 2019 w 3928"/>
                    <a:gd name="T103" fmla="*/ 289 h 5055"/>
                    <a:gd name="T104" fmla="*/ 2163 w 3928"/>
                    <a:gd name="T105" fmla="*/ 112 h 5055"/>
                    <a:gd name="T106" fmla="*/ 2367 w 3928"/>
                    <a:gd name="T107" fmla="*/ 118 h 5055"/>
                    <a:gd name="T108" fmla="*/ 2508 w 3928"/>
                    <a:gd name="T109" fmla="*/ 220 h 5055"/>
                    <a:gd name="T110" fmla="*/ 2601 w 3928"/>
                    <a:gd name="T111" fmla="*/ 337 h 5055"/>
                    <a:gd name="T112" fmla="*/ 2730 w 3928"/>
                    <a:gd name="T113" fmla="*/ 166 h 5055"/>
                    <a:gd name="T114" fmla="*/ 2775 w 3928"/>
                    <a:gd name="T115" fmla="*/ 13 h 5055"/>
                    <a:gd name="T116" fmla="*/ 3039 w 3928"/>
                    <a:gd name="T117" fmla="*/ 115 h 5055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w 3928"/>
                    <a:gd name="T178" fmla="*/ 0 h 5055"/>
                    <a:gd name="T179" fmla="*/ 3928 w 3928"/>
                    <a:gd name="T180" fmla="*/ 5055 h 5055"/>
                  </a:gdLst>
                  <a:ahLst/>
                  <a:cxnLst>
                    <a:cxn ang="T118">
                      <a:pos x="T0" y="T1"/>
                    </a:cxn>
                    <a:cxn ang="T119">
                      <a:pos x="T2" y="T3"/>
                    </a:cxn>
                    <a:cxn ang="T120">
                      <a:pos x="T4" y="T5"/>
                    </a:cxn>
                    <a:cxn ang="T121">
                      <a:pos x="T6" y="T7"/>
                    </a:cxn>
                    <a:cxn ang="T122">
                      <a:pos x="T8" y="T9"/>
                    </a:cxn>
                    <a:cxn ang="T123">
                      <a:pos x="T10" y="T11"/>
                    </a:cxn>
                    <a:cxn ang="T124">
                      <a:pos x="T12" y="T13"/>
                    </a:cxn>
                    <a:cxn ang="T125">
                      <a:pos x="T14" y="T15"/>
                    </a:cxn>
                    <a:cxn ang="T126">
                      <a:pos x="T16" y="T17"/>
                    </a:cxn>
                    <a:cxn ang="T127">
                      <a:pos x="T18" y="T19"/>
                    </a:cxn>
                    <a:cxn ang="T128">
                      <a:pos x="T20" y="T21"/>
                    </a:cxn>
                    <a:cxn ang="T129">
                      <a:pos x="T22" y="T23"/>
                    </a:cxn>
                    <a:cxn ang="T130">
                      <a:pos x="T24" y="T25"/>
                    </a:cxn>
                    <a:cxn ang="T131">
                      <a:pos x="T26" y="T27"/>
                    </a:cxn>
                    <a:cxn ang="T132">
                      <a:pos x="T28" y="T29"/>
                    </a:cxn>
                    <a:cxn ang="T133">
                      <a:pos x="T30" y="T31"/>
                    </a:cxn>
                    <a:cxn ang="T134">
                      <a:pos x="T32" y="T33"/>
                    </a:cxn>
                    <a:cxn ang="T135">
                      <a:pos x="T34" y="T35"/>
                    </a:cxn>
                    <a:cxn ang="T136">
                      <a:pos x="T36" y="T37"/>
                    </a:cxn>
                    <a:cxn ang="T137">
                      <a:pos x="T38" y="T39"/>
                    </a:cxn>
                    <a:cxn ang="T138">
                      <a:pos x="T40" y="T41"/>
                    </a:cxn>
                    <a:cxn ang="T139">
                      <a:pos x="T42" y="T43"/>
                    </a:cxn>
                    <a:cxn ang="T140">
                      <a:pos x="T44" y="T45"/>
                    </a:cxn>
                    <a:cxn ang="T141">
                      <a:pos x="T46" y="T47"/>
                    </a:cxn>
                    <a:cxn ang="T142">
                      <a:pos x="T48" y="T49"/>
                    </a:cxn>
                    <a:cxn ang="T143">
                      <a:pos x="T50" y="T51"/>
                    </a:cxn>
                    <a:cxn ang="T144">
                      <a:pos x="T52" y="T53"/>
                    </a:cxn>
                    <a:cxn ang="T145">
                      <a:pos x="T54" y="T55"/>
                    </a:cxn>
                    <a:cxn ang="T146">
                      <a:pos x="T56" y="T57"/>
                    </a:cxn>
                    <a:cxn ang="T147">
                      <a:pos x="T58" y="T59"/>
                    </a:cxn>
                    <a:cxn ang="T148">
                      <a:pos x="T60" y="T61"/>
                    </a:cxn>
                    <a:cxn ang="T149">
                      <a:pos x="T62" y="T63"/>
                    </a:cxn>
                    <a:cxn ang="T150">
                      <a:pos x="T64" y="T65"/>
                    </a:cxn>
                    <a:cxn ang="T151">
                      <a:pos x="T66" y="T67"/>
                    </a:cxn>
                    <a:cxn ang="T152">
                      <a:pos x="T68" y="T69"/>
                    </a:cxn>
                    <a:cxn ang="T153">
                      <a:pos x="T70" y="T71"/>
                    </a:cxn>
                    <a:cxn ang="T154">
                      <a:pos x="T72" y="T73"/>
                    </a:cxn>
                    <a:cxn ang="T155">
                      <a:pos x="T74" y="T75"/>
                    </a:cxn>
                    <a:cxn ang="T156">
                      <a:pos x="T76" y="T77"/>
                    </a:cxn>
                    <a:cxn ang="T157">
                      <a:pos x="T78" y="T79"/>
                    </a:cxn>
                    <a:cxn ang="T158">
                      <a:pos x="T80" y="T81"/>
                    </a:cxn>
                    <a:cxn ang="T159">
                      <a:pos x="T82" y="T83"/>
                    </a:cxn>
                    <a:cxn ang="T160">
                      <a:pos x="T84" y="T85"/>
                    </a:cxn>
                    <a:cxn ang="T161">
                      <a:pos x="T86" y="T87"/>
                    </a:cxn>
                    <a:cxn ang="T162">
                      <a:pos x="T88" y="T89"/>
                    </a:cxn>
                    <a:cxn ang="T163">
                      <a:pos x="T90" y="T91"/>
                    </a:cxn>
                    <a:cxn ang="T164">
                      <a:pos x="T92" y="T93"/>
                    </a:cxn>
                    <a:cxn ang="T165">
                      <a:pos x="T94" y="T95"/>
                    </a:cxn>
                    <a:cxn ang="T166">
                      <a:pos x="T96" y="T97"/>
                    </a:cxn>
                    <a:cxn ang="T167">
                      <a:pos x="T98" y="T99"/>
                    </a:cxn>
                    <a:cxn ang="T168">
                      <a:pos x="T100" y="T101"/>
                    </a:cxn>
                    <a:cxn ang="T169">
                      <a:pos x="T102" y="T103"/>
                    </a:cxn>
                    <a:cxn ang="T170">
                      <a:pos x="T104" y="T105"/>
                    </a:cxn>
                    <a:cxn ang="T171">
                      <a:pos x="T106" y="T107"/>
                    </a:cxn>
                    <a:cxn ang="T172">
                      <a:pos x="T108" y="T109"/>
                    </a:cxn>
                    <a:cxn ang="T173">
                      <a:pos x="T110" y="T111"/>
                    </a:cxn>
                    <a:cxn ang="T174">
                      <a:pos x="T112" y="T113"/>
                    </a:cxn>
                    <a:cxn ang="T175">
                      <a:pos x="T114" y="T115"/>
                    </a:cxn>
                    <a:cxn ang="T176">
                      <a:pos x="T116" y="T117"/>
                    </a:cxn>
                  </a:cxnLst>
                  <a:rect l="T177" t="T178" r="T179" b="T180"/>
                  <a:pathLst>
                    <a:path w="3928" h="5055">
                      <a:moveTo>
                        <a:pt x="3096" y="133"/>
                      </a:moveTo>
                      <a:cubicBezTo>
                        <a:pt x="3108" y="130"/>
                        <a:pt x="3129" y="117"/>
                        <a:pt x="3141" y="112"/>
                      </a:cubicBezTo>
                      <a:cubicBezTo>
                        <a:pt x="3153" y="107"/>
                        <a:pt x="3168" y="95"/>
                        <a:pt x="3171" y="100"/>
                      </a:cubicBezTo>
                      <a:cubicBezTo>
                        <a:pt x="3174" y="105"/>
                        <a:pt x="3160" y="130"/>
                        <a:pt x="3159" y="145"/>
                      </a:cubicBezTo>
                      <a:cubicBezTo>
                        <a:pt x="3158" y="160"/>
                        <a:pt x="3155" y="172"/>
                        <a:pt x="3162" y="193"/>
                      </a:cubicBezTo>
                      <a:cubicBezTo>
                        <a:pt x="3169" y="214"/>
                        <a:pt x="3199" y="246"/>
                        <a:pt x="3204" y="274"/>
                      </a:cubicBezTo>
                      <a:cubicBezTo>
                        <a:pt x="3209" y="302"/>
                        <a:pt x="3180" y="349"/>
                        <a:pt x="3192" y="364"/>
                      </a:cubicBezTo>
                      <a:cubicBezTo>
                        <a:pt x="3204" y="379"/>
                        <a:pt x="3255" y="358"/>
                        <a:pt x="3279" y="364"/>
                      </a:cubicBezTo>
                      <a:cubicBezTo>
                        <a:pt x="3303" y="370"/>
                        <a:pt x="3323" y="389"/>
                        <a:pt x="3336" y="403"/>
                      </a:cubicBezTo>
                      <a:cubicBezTo>
                        <a:pt x="3349" y="417"/>
                        <a:pt x="3354" y="437"/>
                        <a:pt x="3360" y="451"/>
                      </a:cubicBezTo>
                      <a:cubicBezTo>
                        <a:pt x="3366" y="465"/>
                        <a:pt x="3366" y="484"/>
                        <a:pt x="3375" y="490"/>
                      </a:cubicBezTo>
                      <a:cubicBezTo>
                        <a:pt x="3384" y="496"/>
                        <a:pt x="3397" y="496"/>
                        <a:pt x="3411" y="487"/>
                      </a:cubicBezTo>
                      <a:cubicBezTo>
                        <a:pt x="3425" y="478"/>
                        <a:pt x="3443" y="453"/>
                        <a:pt x="3459" y="436"/>
                      </a:cubicBezTo>
                      <a:cubicBezTo>
                        <a:pt x="3475" y="419"/>
                        <a:pt x="3491" y="401"/>
                        <a:pt x="3507" y="385"/>
                      </a:cubicBezTo>
                      <a:cubicBezTo>
                        <a:pt x="3523" y="369"/>
                        <a:pt x="3545" y="347"/>
                        <a:pt x="3558" y="337"/>
                      </a:cubicBezTo>
                      <a:cubicBezTo>
                        <a:pt x="3571" y="327"/>
                        <a:pt x="3579" y="319"/>
                        <a:pt x="3585" y="325"/>
                      </a:cubicBezTo>
                      <a:cubicBezTo>
                        <a:pt x="3591" y="331"/>
                        <a:pt x="3588" y="356"/>
                        <a:pt x="3594" y="373"/>
                      </a:cubicBezTo>
                      <a:cubicBezTo>
                        <a:pt x="3600" y="390"/>
                        <a:pt x="3614" y="411"/>
                        <a:pt x="3621" y="430"/>
                      </a:cubicBezTo>
                      <a:cubicBezTo>
                        <a:pt x="3628" y="449"/>
                        <a:pt x="3630" y="473"/>
                        <a:pt x="3636" y="487"/>
                      </a:cubicBezTo>
                      <a:cubicBezTo>
                        <a:pt x="3642" y="501"/>
                        <a:pt x="3650" y="504"/>
                        <a:pt x="3657" y="511"/>
                      </a:cubicBezTo>
                      <a:cubicBezTo>
                        <a:pt x="3664" y="518"/>
                        <a:pt x="3677" y="519"/>
                        <a:pt x="3681" y="529"/>
                      </a:cubicBezTo>
                      <a:cubicBezTo>
                        <a:pt x="3685" y="539"/>
                        <a:pt x="3682" y="562"/>
                        <a:pt x="3684" y="571"/>
                      </a:cubicBezTo>
                      <a:cubicBezTo>
                        <a:pt x="3686" y="580"/>
                        <a:pt x="3694" y="572"/>
                        <a:pt x="3696" y="583"/>
                      </a:cubicBezTo>
                      <a:cubicBezTo>
                        <a:pt x="3698" y="594"/>
                        <a:pt x="3696" y="628"/>
                        <a:pt x="3699" y="640"/>
                      </a:cubicBezTo>
                      <a:cubicBezTo>
                        <a:pt x="3702" y="652"/>
                        <a:pt x="3710" y="646"/>
                        <a:pt x="3714" y="655"/>
                      </a:cubicBezTo>
                      <a:cubicBezTo>
                        <a:pt x="3718" y="664"/>
                        <a:pt x="3722" y="689"/>
                        <a:pt x="3720" y="694"/>
                      </a:cubicBezTo>
                      <a:cubicBezTo>
                        <a:pt x="3718" y="699"/>
                        <a:pt x="3707" y="688"/>
                        <a:pt x="3699" y="688"/>
                      </a:cubicBezTo>
                      <a:cubicBezTo>
                        <a:pt x="3691" y="688"/>
                        <a:pt x="3677" y="691"/>
                        <a:pt x="3669" y="694"/>
                      </a:cubicBezTo>
                      <a:cubicBezTo>
                        <a:pt x="3661" y="697"/>
                        <a:pt x="3654" y="704"/>
                        <a:pt x="3651" y="709"/>
                      </a:cubicBezTo>
                      <a:cubicBezTo>
                        <a:pt x="3648" y="714"/>
                        <a:pt x="3658" y="716"/>
                        <a:pt x="3651" y="727"/>
                      </a:cubicBezTo>
                      <a:cubicBezTo>
                        <a:pt x="3644" y="738"/>
                        <a:pt x="3622" y="751"/>
                        <a:pt x="3612" y="775"/>
                      </a:cubicBezTo>
                      <a:cubicBezTo>
                        <a:pt x="3602" y="799"/>
                        <a:pt x="3585" y="845"/>
                        <a:pt x="3588" y="871"/>
                      </a:cubicBezTo>
                      <a:cubicBezTo>
                        <a:pt x="3591" y="897"/>
                        <a:pt x="3618" y="915"/>
                        <a:pt x="3630" y="931"/>
                      </a:cubicBezTo>
                      <a:cubicBezTo>
                        <a:pt x="3642" y="947"/>
                        <a:pt x="3644" y="960"/>
                        <a:pt x="3657" y="970"/>
                      </a:cubicBezTo>
                      <a:cubicBezTo>
                        <a:pt x="3670" y="980"/>
                        <a:pt x="3694" y="988"/>
                        <a:pt x="3708" y="994"/>
                      </a:cubicBezTo>
                      <a:cubicBezTo>
                        <a:pt x="3722" y="1000"/>
                        <a:pt x="3734" y="1003"/>
                        <a:pt x="3744" y="1006"/>
                      </a:cubicBezTo>
                      <a:cubicBezTo>
                        <a:pt x="3754" y="1009"/>
                        <a:pt x="3751" y="1012"/>
                        <a:pt x="3768" y="1012"/>
                      </a:cubicBezTo>
                      <a:cubicBezTo>
                        <a:pt x="3785" y="1012"/>
                        <a:pt x="3823" y="1013"/>
                        <a:pt x="3845" y="1004"/>
                      </a:cubicBezTo>
                      <a:cubicBezTo>
                        <a:pt x="3867" y="995"/>
                        <a:pt x="3886" y="972"/>
                        <a:pt x="3900" y="961"/>
                      </a:cubicBezTo>
                      <a:cubicBezTo>
                        <a:pt x="3914" y="950"/>
                        <a:pt x="3928" y="936"/>
                        <a:pt x="3927" y="940"/>
                      </a:cubicBezTo>
                      <a:cubicBezTo>
                        <a:pt x="3926" y="944"/>
                        <a:pt x="3912" y="970"/>
                        <a:pt x="3891" y="988"/>
                      </a:cubicBezTo>
                      <a:cubicBezTo>
                        <a:pt x="3870" y="1006"/>
                        <a:pt x="3833" y="1037"/>
                        <a:pt x="3804" y="1049"/>
                      </a:cubicBezTo>
                      <a:cubicBezTo>
                        <a:pt x="3775" y="1061"/>
                        <a:pt x="3744" y="1050"/>
                        <a:pt x="3717" y="1060"/>
                      </a:cubicBezTo>
                      <a:cubicBezTo>
                        <a:pt x="3690" y="1070"/>
                        <a:pt x="3658" y="1087"/>
                        <a:pt x="3642" y="1111"/>
                      </a:cubicBezTo>
                      <a:cubicBezTo>
                        <a:pt x="3626" y="1135"/>
                        <a:pt x="3616" y="1167"/>
                        <a:pt x="3621" y="1204"/>
                      </a:cubicBezTo>
                      <a:cubicBezTo>
                        <a:pt x="3626" y="1241"/>
                        <a:pt x="3658" y="1305"/>
                        <a:pt x="3672" y="1333"/>
                      </a:cubicBezTo>
                      <a:cubicBezTo>
                        <a:pt x="3686" y="1361"/>
                        <a:pt x="3696" y="1363"/>
                        <a:pt x="3705" y="1375"/>
                      </a:cubicBezTo>
                      <a:cubicBezTo>
                        <a:pt x="3714" y="1387"/>
                        <a:pt x="3717" y="1386"/>
                        <a:pt x="3723" y="1402"/>
                      </a:cubicBezTo>
                      <a:cubicBezTo>
                        <a:pt x="3729" y="1418"/>
                        <a:pt x="3740" y="1453"/>
                        <a:pt x="3742" y="1473"/>
                      </a:cubicBezTo>
                      <a:cubicBezTo>
                        <a:pt x="3744" y="1493"/>
                        <a:pt x="3738" y="1511"/>
                        <a:pt x="3738" y="1525"/>
                      </a:cubicBezTo>
                      <a:cubicBezTo>
                        <a:pt x="3738" y="1539"/>
                        <a:pt x="3749" y="1546"/>
                        <a:pt x="3745" y="1557"/>
                      </a:cubicBezTo>
                      <a:cubicBezTo>
                        <a:pt x="3741" y="1568"/>
                        <a:pt x="3737" y="1584"/>
                        <a:pt x="3711" y="1594"/>
                      </a:cubicBezTo>
                      <a:cubicBezTo>
                        <a:pt x="3685" y="1604"/>
                        <a:pt x="3623" y="1608"/>
                        <a:pt x="3591" y="1615"/>
                      </a:cubicBezTo>
                      <a:cubicBezTo>
                        <a:pt x="3559" y="1622"/>
                        <a:pt x="3539" y="1632"/>
                        <a:pt x="3521" y="1636"/>
                      </a:cubicBezTo>
                      <a:cubicBezTo>
                        <a:pt x="3503" y="1640"/>
                        <a:pt x="3491" y="1643"/>
                        <a:pt x="3480" y="1642"/>
                      </a:cubicBezTo>
                      <a:cubicBezTo>
                        <a:pt x="3469" y="1641"/>
                        <a:pt x="3464" y="1629"/>
                        <a:pt x="3453" y="1627"/>
                      </a:cubicBezTo>
                      <a:cubicBezTo>
                        <a:pt x="3442" y="1625"/>
                        <a:pt x="3421" y="1625"/>
                        <a:pt x="3411" y="1627"/>
                      </a:cubicBezTo>
                      <a:cubicBezTo>
                        <a:pt x="3401" y="1629"/>
                        <a:pt x="3400" y="1642"/>
                        <a:pt x="3390" y="1642"/>
                      </a:cubicBezTo>
                      <a:cubicBezTo>
                        <a:pt x="3380" y="1642"/>
                        <a:pt x="3365" y="1629"/>
                        <a:pt x="3348" y="1630"/>
                      </a:cubicBezTo>
                      <a:cubicBezTo>
                        <a:pt x="3331" y="1631"/>
                        <a:pt x="3308" y="1647"/>
                        <a:pt x="3285" y="1651"/>
                      </a:cubicBezTo>
                      <a:cubicBezTo>
                        <a:pt x="3262" y="1655"/>
                        <a:pt x="3230" y="1663"/>
                        <a:pt x="3210" y="1654"/>
                      </a:cubicBezTo>
                      <a:cubicBezTo>
                        <a:pt x="3190" y="1645"/>
                        <a:pt x="3180" y="1611"/>
                        <a:pt x="3165" y="1594"/>
                      </a:cubicBezTo>
                      <a:cubicBezTo>
                        <a:pt x="3150" y="1577"/>
                        <a:pt x="3133" y="1568"/>
                        <a:pt x="3123" y="1549"/>
                      </a:cubicBezTo>
                      <a:cubicBezTo>
                        <a:pt x="3113" y="1530"/>
                        <a:pt x="3109" y="1502"/>
                        <a:pt x="3102" y="1480"/>
                      </a:cubicBezTo>
                      <a:cubicBezTo>
                        <a:pt x="3095" y="1458"/>
                        <a:pt x="3104" y="1426"/>
                        <a:pt x="3078" y="1417"/>
                      </a:cubicBezTo>
                      <a:cubicBezTo>
                        <a:pt x="3052" y="1408"/>
                        <a:pt x="2983" y="1420"/>
                        <a:pt x="2943" y="1423"/>
                      </a:cubicBezTo>
                      <a:cubicBezTo>
                        <a:pt x="2903" y="1426"/>
                        <a:pt x="2862" y="1435"/>
                        <a:pt x="2835" y="1438"/>
                      </a:cubicBezTo>
                      <a:cubicBezTo>
                        <a:pt x="2808" y="1441"/>
                        <a:pt x="2797" y="1442"/>
                        <a:pt x="2781" y="1438"/>
                      </a:cubicBezTo>
                      <a:cubicBezTo>
                        <a:pt x="2765" y="1434"/>
                        <a:pt x="2750" y="1418"/>
                        <a:pt x="2739" y="1414"/>
                      </a:cubicBezTo>
                      <a:cubicBezTo>
                        <a:pt x="2728" y="1410"/>
                        <a:pt x="2718" y="1406"/>
                        <a:pt x="2712" y="1411"/>
                      </a:cubicBezTo>
                      <a:cubicBezTo>
                        <a:pt x="2706" y="1416"/>
                        <a:pt x="2707" y="1418"/>
                        <a:pt x="2700" y="1447"/>
                      </a:cubicBezTo>
                      <a:cubicBezTo>
                        <a:pt x="2693" y="1476"/>
                        <a:pt x="2676" y="1553"/>
                        <a:pt x="2667" y="1588"/>
                      </a:cubicBezTo>
                      <a:cubicBezTo>
                        <a:pt x="2658" y="1623"/>
                        <a:pt x="2649" y="1648"/>
                        <a:pt x="2646" y="1660"/>
                      </a:cubicBezTo>
                      <a:cubicBezTo>
                        <a:pt x="2643" y="1672"/>
                        <a:pt x="2651" y="1648"/>
                        <a:pt x="2646" y="1663"/>
                      </a:cubicBezTo>
                      <a:cubicBezTo>
                        <a:pt x="2641" y="1678"/>
                        <a:pt x="2625" y="1725"/>
                        <a:pt x="2616" y="1753"/>
                      </a:cubicBezTo>
                      <a:cubicBezTo>
                        <a:pt x="2607" y="1781"/>
                        <a:pt x="2598" y="1810"/>
                        <a:pt x="2592" y="1834"/>
                      </a:cubicBezTo>
                      <a:cubicBezTo>
                        <a:pt x="2586" y="1858"/>
                        <a:pt x="2587" y="1877"/>
                        <a:pt x="2583" y="1897"/>
                      </a:cubicBezTo>
                      <a:cubicBezTo>
                        <a:pt x="2579" y="1917"/>
                        <a:pt x="2573" y="1928"/>
                        <a:pt x="2565" y="1957"/>
                      </a:cubicBezTo>
                      <a:cubicBezTo>
                        <a:pt x="2557" y="1986"/>
                        <a:pt x="2541" y="2035"/>
                        <a:pt x="2532" y="2071"/>
                      </a:cubicBezTo>
                      <a:cubicBezTo>
                        <a:pt x="2523" y="2107"/>
                        <a:pt x="2518" y="2145"/>
                        <a:pt x="2508" y="2176"/>
                      </a:cubicBezTo>
                      <a:cubicBezTo>
                        <a:pt x="2498" y="2207"/>
                        <a:pt x="2492" y="2220"/>
                        <a:pt x="2469" y="2254"/>
                      </a:cubicBezTo>
                      <a:cubicBezTo>
                        <a:pt x="2446" y="2288"/>
                        <a:pt x="2416" y="2332"/>
                        <a:pt x="2373" y="2380"/>
                      </a:cubicBezTo>
                      <a:cubicBezTo>
                        <a:pt x="2330" y="2428"/>
                        <a:pt x="2255" y="2493"/>
                        <a:pt x="2208" y="2545"/>
                      </a:cubicBezTo>
                      <a:cubicBezTo>
                        <a:pt x="2161" y="2597"/>
                        <a:pt x="2124" y="2640"/>
                        <a:pt x="2088" y="2695"/>
                      </a:cubicBezTo>
                      <a:cubicBezTo>
                        <a:pt x="2052" y="2750"/>
                        <a:pt x="2008" y="2830"/>
                        <a:pt x="1995" y="2875"/>
                      </a:cubicBezTo>
                      <a:cubicBezTo>
                        <a:pt x="1982" y="2920"/>
                        <a:pt x="1998" y="2946"/>
                        <a:pt x="2007" y="2968"/>
                      </a:cubicBezTo>
                      <a:cubicBezTo>
                        <a:pt x="2016" y="2990"/>
                        <a:pt x="2033" y="2986"/>
                        <a:pt x="2046" y="3006"/>
                      </a:cubicBezTo>
                      <a:cubicBezTo>
                        <a:pt x="2059" y="3026"/>
                        <a:pt x="2083" y="3054"/>
                        <a:pt x="2084" y="3088"/>
                      </a:cubicBezTo>
                      <a:cubicBezTo>
                        <a:pt x="2085" y="3122"/>
                        <a:pt x="2069" y="3160"/>
                        <a:pt x="2052" y="3208"/>
                      </a:cubicBezTo>
                      <a:cubicBezTo>
                        <a:pt x="2035" y="3256"/>
                        <a:pt x="2002" y="3323"/>
                        <a:pt x="1980" y="3379"/>
                      </a:cubicBezTo>
                      <a:cubicBezTo>
                        <a:pt x="1958" y="3435"/>
                        <a:pt x="1931" y="3500"/>
                        <a:pt x="1917" y="3544"/>
                      </a:cubicBezTo>
                      <a:cubicBezTo>
                        <a:pt x="1903" y="3588"/>
                        <a:pt x="1911" y="3628"/>
                        <a:pt x="1893" y="3646"/>
                      </a:cubicBezTo>
                      <a:cubicBezTo>
                        <a:pt x="1875" y="3664"/>
                        <a:pt x="1839" y="3654"/>
                        <a:pt x="1811" y="3654"/>
                      </a:cubicBezTo>
                      <a:cubicBezTo>
                        <a:pt x="1783" y="3654"/>
                        <a:pt x="1757" y="3648"/>
                        <a:pt x="1725" y="3644"/>
                      </a:cubicBezTo>
                      <a:cubicBezTo>
                        <a:pt x="1692" y="3641"/>
                        <a:pt x="1648" y="3641"/>
                        <a:pt x="1615" y="3631"/>
                      </a:cubicBezTo>
                      <a:cubicBezTo>
                        <a:pt x="1582" y="3621"/>
                        <a:pt x="1552" y="3597"/>
                        <a:pt x="1524" y="3586"/>
                      </a:cubicBezTo>
                      <a:cubicBezTo>
                        <a:pt x="1496" y="3575"/>
                        <a:pt x="1469" y="3571"/>
                        <a:pt x="1447" y="3568"/>
                      </a:cubicBezTo>
                      <a:cubicBezTo>
                        <a:pt x="1425" y="3565"/>
                        <a:pt x="1410" y="3573"/>
                        <a:pt x="1390" y="3570"/>
                      </a:cubicBezTo>
                      <a:cubicBezTo>
                        <a:pt x="1370" y="3567"/>
                        <a:pt x="1348" y="3553"/>
                        <a:pt x="1326" y="3550"/>
                      </a:cubicBezTo>
                      <a:cubicBezTo>
                        <a:pt x="1304" y="3547"/>
                        <a:pt x="1274" y="3550"/>
                        <a:pt x="1260" y="3553"/>
                      </a:cubicBezTo>
                      <a:cubicBezTo>
                        <a:pt x="1246" y="3556"/>
                        <a:pt x="1248" y="3559"/>
                        <a:pt x="1242" y="3568"/>
                      </a:cubicBezTo>
                      <a:cubicBezTo>
                        <a:pt x="1236" y="3577"/>
                        <a:pt x="1239" y="3589"/>
                        <a:pt x="1227" y="3604"/>
                      </a:cubicBezTo>
                      <a:cubicBezTo>
                        <a:pt x="1215" y="3619"/>
                        <a:pt x="1183" y="3635"/>
                        <a:pt x="1170" y="3658"/>
                      </a:cubicBezTo>
                      <a:cubicBezTo>
                        <a:pt x="1157" y="3681"/>
                        <a:pt x="1156" y="3726"/>
                        <a:pt x="1146" y="3745"/>
                      </a:cubicBezTo>
                      <a:cubicBezTo>
                        <a:pt x="1136" y="3764"/>
                        <a:pt x="1123" y="3761"/>
                        <a:pt x="1110" y="3775"/>
                      </a:cubicBezTo>
                      <a:cubicBezTo>
                        <a:pt x="1097" y="3789"/>
                        <a:pt x="1078" y="3810"/>
                        <a:pt x="1068" y="3829"/>
                      </a:cubicBezTo>
                      <a:cubicBezTo>
                        <a:pt x="1058" y="3848"/>
                        <a:pt x="1048" y="3873"/>
                        <a:pt x="1050" y="3892"/>
                      </a:cubicBezTo>
                      <a:cubicBezTo>
                        <a:pt x="1052" y="3911"/>
                        <a:pt x="1076" y="3928"/>
                        <a:pt x="1083" y="3943"/>
                      </a:cubicBezTo>
                      <a:cubicBezTo>
                        <a:pt x="1090" y="3958"/>
                        <a:pt x="1090" y="3967"/>
                        <a:pt x="1095" y="3982"/>
                      </a:cubicBezTo>
                      <a:cubicBezTo>
                        <a:pt x="1100" y="3997"/>
                        <a:pt x="1103" y="4018"/>
                        <a:pt x="1110" y="4033"/>
                      </a:cubicBezTo>
                      <a:cubicBezTo>
                        <a:pt x="1117" y="4048"/>
                        <a:pt x="1124" y="4066"/>
                        <a:pt x="1137" y="4075"/>
                      </a:cubicBezTo>
                      <a:cubicBezTo>
                        <a:pt x="1150" y="4084"/>
                        <a:pt x="1172" y="4083"/>
                        <a:pt x="1188" y="4087"/>
                      </a:cubicBezTo>
                      <a:cubicBezTo>
                        <a:pt x="1204" y="4091"/>
                        <a:pt x="1222" y="4089"/>
                        <a:pt x="1233" y="4099"/>
                      </a:cubicBezTo>
                      <a:cubicBezTo>
                        <a:pt x="1244" y="4109"/>
                        <a:pt x="1249" y="4133"/>
                        <a:pt x="1254" y="4147"/>
                      </a:cubicBezTo>
                      <a:cubicBezTo>
                        <a:pt x="1259" y="4161"/>
                        <a:pt x="1270" y="4175"/>
                        <a:pt x="1263" y="4186"/>
                      </a:cubicBezTo>
                      <a:cubicBezTo>
                        <a:pt x="1256" y="4197"/>
                        <a:pt x="1234" y="4207"/>
                        <a:pt x="1215" y="4213"/>
                      </a:cubicBezTo>
                      <a:cubicBezTo>
                        <a:pt x="1196" y="4219"/>
                        <a:pt x="1171" y="4222"/>
                        <a:pt x="1146" y="4225"/>
                      </a:cubicBezTo>
                      <a:cubicBezTo>
                        <a:pt x="1121" y="4228"/>
                        <a:pt x="1094" y="4225"/>
                        <a:pt x="1065" y="4231"/>
                      </a:cubicBezTo>
                      <a:cubicBezTo>
                        <a:pt x="1036" y="4237"/>
                        <a:pt x="993" y="4252"/>
                        <a:pt x="969" y="4261"/>
                      </a:cubicBezTo>
                      <a:cubicBezTo>
                        <a:pt x="945" y="4270"/>
                        <a:pt x="927" y="4273"/>
                        <a:pt x="921" y="4288"/>
                      </a:cubicBezTo>
                      <a:cubicBezTo>
                        <a:pt x="915" y="4303"/>
                        <a:pt x="928" y="4337"/>
                        <a:pt x="930" y="4354"/>
                      </a:cubicBezTo>
                      <a:cubicBezTo>
                        <a:pt x="932" y="4371"/>
                        <a:pt x="931" y="4378"/>
                        <a:pt x="930" y="4390"/>
                      </a:cubicBezTo>
                      <a:cubicBezTo>
                        <a:pt x="929" y="4402"/>
                        <a:pt x="923" y="4418"/>
                        <a:pt x="921" y="4429"/>
                      </a:cubicBezTo>
                      <a:cubicBezTo>
                        <a:pt x="919" y="4440"/>
                        <a:pt x="921" y="4451"/>
                        <a:pt x="915" y="4459"/>
                      </a:cubicBezTo>
                      <a:cubicBezTo>
                        <a:pt x="909" y="4467"/>
                        <a:pt x="890" y="4471"/>
                        <a:pt x="882" y="4480"/>
                      </a:cubicBezTo>
                      <a:cubicBezTo>
                        <a:pt x="874" y="4489"/>
                        <a:pt x="876" y="4506"/>
                        <a:pt x="864" y="4513"/>
                      </a:cubicBezTo>
                      <a:cubicBezTo>
                        <a:pt x="852" y="4520"/>
                        <a:pt x="825" y="4516"/>
                        <a:pt x="807" y="4525"/>
                      </a:cubicBezTo>
                      <a:cubicBezTo>
                        <a:pt x="789" y="4534"/>
                        <a:pt x="768" y="4550"/>
                        <a:pt x="756" y="4567"/>
                      </a:cubicBezTo>
                      <a:cubicBezTo>
                        <a:pt x="744" y="4584"/>
                        <a:pt x="735" y="4606"/>
                        <a:pt x="732" y="4630"/>
                      </a:cubicBezTo>
                      <a:cubicBezTo>
                        <a:pt x="729" y="4654"/>
                        <a:pt x="736" y="4688"/>
                        <a:pt x="738" y="4714"/>
                      </a:cubicBezTo>
                      <a:cubicBezTo>
                        <a:pt x="740" y="4740"/>
                        <a:pt x="735" y="4775"/>
                        <a:pt x="744" y="4789"/>
                      </a:cubicBezTo>
                      <a:cubicBezTo>
                        <a:pt x="753" y="4803"/>
                        <a:pt x="774" y="4800"/>
                        <a:pt x="792" y="4801"/>
                      </a:cubicBezTo>
                      <a:cubicBezTo>
                        <a:pt x="810" y="4802"/>
                        <a:pt x="828" y="4798"/>
                        <a:pt x="852" y="4795"/>
                      </a:cubicBezTo>
                      <a:cubicBezTo>
                        <a:pt x="876" y="4792"/>
                        <a:pt x="914" y="4772"/>
                        <a:pt x="936" y="4780"/>
                      </a:cubicBezTo>
                      <a:cubicBezTo>
                        <a:pt x="958" y="4788"/>
                        <a:pt x="970" y="4823"/>
                        <a:pt x="984" y="4843"/>
                      </a:cubicBezTo>
                      <a:cubicBezTo>
                        <a:pt x="998" y="4863"/>
                        <a:pt x="1007" y="4883"/>
                        <a:pt x="1023" y="4900"/>
                      </a:cubicBezTo>
                      <a:cubicBezTo>
                        <a:pt x="1039" y="4917"/>
                        <a:pt x="1076" y="4934"/>
                        <a:pt x="1080" y="4942"/>
                      </a:cubicBezTo>
                      <a:cubicBezTo>
                        <a:pt x="1084" y="4950"/>
                        <a:pt x="1060" y="4949"/>
                        <a:pt x="1047" y="4951"/>
                      </a:cubicBezTo>
                      <a:cubicBezTo>
                        <a:pt x="1034" y="4953"/>
                        <a:pt x="1023" y="4951"/>
                        <a:pt x="1002" y="4954"/>
                      </a:cubicBezTo>
                      <a:cubicBezTo>
                        <a:pt x="981" y="4957"/>
                        <a:pt x="942" y="4966"/>
                        <a:pt x="918" y="4972"/>
                      </a:cubicBezTo>
                      <a:cubicBezTo>
                        <a:pt x="894" y="4978"/>
                        <a:pt x="873" y="4986"/>
                        <a:pt x="855" y="4990"/>
                      </a:cubicBezTo>
                      <a:cubicBezTo>
                        <a:pt x="837" y="4994"/>
                        <a:pt x="832" y="4996"/>
                        <a:pt x="807" y="4999"/>
                      </a:cubicBezTo>
                      <a:cubicBezTo>
                        <a:pt x="782" y="5002"/>
                        <a:pt x="737" y="5003"/>
                        <a:pt x="705" y="5008"/>
                      </a:cubicBezTo>
                      <a:cubicBezTo>
                        <a:pt x="673" y="5013"/>
                        <a:pt x="620" y="5027"/>
                        <a:pt x="612" y="5029"/>
                      </a:cubicBezTo>
                      <a:cubicBezTo>
                        <a:pt x="604" y="5031"/>
                        <a:pt x="663" y="5018"/>
                        <a:pt x="654" y="5020"/>
                      </a:cubicBezTo>
                      <a:cubicBezTo>
                        <a:pt x="645" y="5022"/>
                        <a:pt x="582" y="5035"/>
                        <a:pt x="558" y="5041"/>
                      </a:cubicBezTo>
                      <a:cubicBezTo>
                        <a:pt x="534" y="5047"/>
                        <a:pt x="531" y="5055"/>
                        <a:pt x="510" y="5053"/>
                      </a:cubicBezTo>
                      <a:cubicBezTo>
                        <a:pt x="489" y="5051"/>
                        <a:pt x="454" y="5038"/>
                        <a:pt x="432" y="5032"/>
                      </a:cubicBezTo>
                      <a:cubicBezTo>
                        <a:pt x="410" y="5026"/>
                        <a:pt x="391" y="5019"/>
                        <a:pt x="375" y="5014"/>
                      </a:cubicBezTo>
                      <a:cubicBezTo>
                        <a:pt x="359" y="5009"/>
                        <a:pt x="345" y="5013"/>
                        <a:pt x="336" y="5005"/>
                      </a:cubicBezTo>
                      <a:cubicBezTo>
                        <a:pt x="327" y="4997"/>
                        <a:pt x="325" y="4978"/>
                        <a:pt x="321" y="4966"/>
                      </a:cubicBezTo>
                      <a:cubicBezTo>
                        <a:pt x="317" y="4954"/>
                        <a:pt x="308" y="4935"/>
                        <a:pt x="309" y="4930"/>
                      </a:cubicBezTo>
                      <a:cubicBezTo>
                        <a:pt x="310" y="4925"/>
                        <a:pt x="317" y="4935"/>
                        <a:pt x="330" y="4933"/>
                      </a:cubicBezTo>
                      <a:cubicBezTo>
                        <a:pt x="343" y="4931"/>
                        <a:pt x="360" y="4923"/>
                        <a:pt x="387" y="4918"/>
                      </a:cubicBezTo>
                      <a:cubicBezTo>
                        <a:pt x="414" y="4913"/>
                        <a:pt x="474" y="4913"/>
                        <a:pt x="495" y="4900"/>
                      </a:cubicBezTo>
                      <a:cubicBezTo>
                        <a:pt x="516" y="4887"/>
                        <a:pt x="514" y="4862"/>
                        <a:pt x="516" y="4837"/>
                      </a:cubicBezTo>
                      <a:cubicBezTo>
                        <a:pt x="518" y="4812"/>
                        <a:pt x="512" y="4775"/>
                        <a:pt x="510" y="4750"/>
                      </a:cubicBezTo>
                      <a:cubicBezTo>
                        <a:pt x="508" y="4725"/>
                        <a:pt x="508" y="4711"/>
                        <a:pt x="507" y="4687"/>
                      </a:cubicBezTo>
                      <a:cubicBezTo>
                        <a:pt x="506" y="4663"/>
                        <a:pt x="512" y="4623"/>
                        <a:pt x="501" y="4606"/>
                      </a:cubicBezTo>
                      <a:cubicBezTo>
                        <a:pt x="490" y="4589"/>
                        <a:pt x="451" y="4596"/>
                        <a:pt x="441" y="4585"/>
                      </a:cubicBezTo>
                      <a:cubicBezTo>
                        <a:pt x="431" y="4574"/>
                        <a:pt x="443" y="4551"/>
                        <a:pt x="441" y="4537"/>
                      </a:cubicBezTo>
                      <a:cubicBezTo>
                        <a:pt x="439" y="4523"/>
                        <a:pt x="436" y="4509"/>
                        <a:pt x="426" y="4498"/>
                      </a:cubicBezTo>
                      <a:cubicBezTo>
                        <a:pt x="416" y="4487"/>
                        <a:pt x="402" y="4479"/>
                        <a:pt x="381" y="4474"/>
                      </a:cubicBezTo>
                      <a:cubicBezTo>
                        <a:pt x="360" y="4469"/>
                        <a:pt x="318" y="4462"/>
                        <a:pt x="300" y="4465"/>
                      </a:cubicBezTo>
                      <a:cubicBezTo>
                        <a:pt x="282" y="4468"/>
                        <a:pt x="282" y="4491"/>
                        <a:pt x="270" y="4495"/>
                      </a:cubicBezTo>
                      <a:cubicBezTo>
                        <a:pt x="258" y="4499"/>
                        <a:pt x="238" y="4487"/>
                        <a:pt x="225" y="4489"/>
                      </a:cubicBezTo>
                      <a:cubicBezTo>
                        <a:pt x="212" y="4491"/>
                        <a:pt x="199" y="4507"/>
                        <a:pt x="189" y="4507"/>
                      </a:cubicBezTo>
                      <a:cubicBezTo>
                        <a:pt x="179" y="4507"/>
                        <a:pt x="169" y="4494"/>
                        <a:pt x="165" y="4486"/>
                      </a:cubicBezTo>
                      <a:cubicBezTo>
                        <a:pt x="161" y="4478"/>
                        <a:pt x="164" y="4472"/>
                        <a:pt x="162" y="4459"/>
                      </a:cubicBezTo>
                      <a:cubicBezTo>
                        <a:pt x="160" y="4446"/>
                        <a:pt x="158" y="4417"/>
                        <a:pt x="150" y="4405"/>
                      </a:cubicBezTo>
                      <a:cubicBezTo>
                        <a:pt x="142" y="4393"/>
                        <a:pt x="134" y="4386"/>
                        <a:pt x="117" y="4387"/>
                      </a:cubicBezTo>
                      <a:cubicBezTo>
                        <a:pt x="100" y="4388"/>
                        <a:pt x="58" y="4414"/>
                        <a:pt x="45" y="4411"/>
                      </a:cubicBezTo>
                      <a:cubicBezTo>
                        <a:pt x="32" y="4408"/>
                        <a:pt x="45" y="4387"/>
                        <a:pt x="39" y="4369"/>
                      </a:cubicBezTo>
                      <a:cubicBezTo>
                        <a:pt x="33" y="4351"/>
                        <a:pt x="14" y="4322"/>
                        <a:pt x="9" y="4303"/>
                      </a:cubicBezTo>
                      <a:cubicBezTo>
                        <a:pt x="4" y="4284"/>
                        <a:pt x="0" y="4267"/>
                        <a:pt x="9" y="4252"/>
                      </a:cubicBezTo>
                      <a:cubicBezTo>
                        <a:pt x="18" y="4237"/>
                        <a:pt x="43" y="4222"/>
                        <a:pt x="60" y="4210"/>
                      </a:cubicBezTo>
                      <a:cubicBezTo>
                        <a:pt x="77" y="4198"/>
                        <a:pt x="95" y="4185"/>
                        <a:pt x="114" y="4177"/>
                      </a:cubicBezTo>
                      <a:cubicBezTo>
                        <a:pt x="133" y="4169"/>
                        <a:pt x="163" y="4158"/>
                        <a:pt x="174" y="4159"/>
                      </a:cubicBezTo>
                      <a:cubicBezTo>
                        <a:pt x="185" y="4160"/>
                        <a:pt x="172" y="4171"/>
                        <a:pt x="180" y="4183"/>
                      </a:cubicBezTo>
                      <a:cubicBezTo>
                        <a:pt x="188" y="4195"/>
                        <a:pt x="201" y="4225"/>
                        <a:pt x="225" y="4231"/>
                      </a:cubicBezTo>
                      <a:cubicBezTo>
                        <a:pt x="249" y="4237"/>
                        <a:pt x="297" y="4221"/>
                        <a:pt x="327" y="4222"/>
                      </a:cubicBezTo>
                      <a:cubicBezTo>
                        <a:pt x="357" y="4223"/>
                        <a:pt x="386" y="4247"/>
                        <a:pt x="408" y="4240"/>
                      </a:cubicBezTo>
                      <a:cubicBezTo>
                        <a:pt x="430" y="4233"/>
                        <a:pt x="448" y="4198"/>
                        <a:pt x="459" y="4183"/>
                      </a:cubicBezTo>
                      <a:cubicBezTo>
                        <a:pt x="470" y="4168"/>
                        <a:pt x="468" y="4161"/>
                        <a:pt x="477" y="4147"/>
                      </a:cubicBezTo>
                      <a:cubicBezTo>
                        <a:pt x="486" y="4133"/>
                        <a:pt x="502" y="4117"/>
                        <a:pt x="513" y="4102"/>
                      </a:cubicBezTo>
                      <a:cubicBezTo>
                        <a:pt x="524" y="4087"/>
                        <a:pt x="536" y="4073"/>
                        <a:pt x="546" y="4054"/>
                      </a:cubicBezTo>
                      <a:cubicBezTo>
                        <a:pt x="556" y="4035"/>
                        <a:pt x="571" y="4004"/>
                        <a:pt x="576" y="3985"/>
                      </a:cubicBezTo>
                      <a:cubicBezTo>
                        <a:pt x="581" y="3966"/>
                        <a:pt x="581" y="3949"/>
                        <a:pt x="576" y="3937"/>
                      </a:cubicBezTo>
                      <a:cubicBezTo>
                        <a:pt x="571" y="3925"/>
                        <a:pt x="548" y="3917"/>
                        <a:pt x="546" y="3910"/>
                      </a:cubicBezTo>
                      <a:cubicBezTo>
                        <a:pt x="544" y="3903"/>
                        <a:pt x="555" y="3892"/>
                        <a:pt x="564" y="3892"/>
                      </a:cubicBezTo>
                      <a:cubicBezTo>
                        <a:pt x="573" y="3892"/>
                        <a:pt x="585" y="3904"/>
                        <a:pt x="603" y="3907"/>
                      </a:cubicBezTo>
                      <a:cubicBezTo>
                        <a:pt x="621" y="3910"/>
                        <a:pt x="644" y="3916"/>
                        <a:pt x="670" y="3909"/>
                      </a:cubicBezTo>
                      <a:cubicBezTo>
                        <a:pt x="696" y="3902"/>
                        <a:pt x="732" y="3862"/>
                        <a:pt x="756" y="3865"/>
                      </a:cubicBezTo>
                      <a:cubicBezTo>
                        <a:pt x="780" y="3868"/>
                        <a:pt x="792" y="3907"/>
                        <a:pt x="813" y="3925"/>
                      </a:cubicBezTo>
                      <a:cubicBezTo>
                        <a:pt x="834" y="3943"/>
                        <a:pt x="869" y="3974"/>
                        <a:pt x="885" y="3970"/>
                      </a:cubicBezTo>
                      <a:cubicBezTo>
                        <a:pt x="901" y="3966"/>
                        <a:pt x="906" y="3924"/>
                        <a:pt x="912" y="3898"/>
                      </a:cubicBezTo>
                      <a:cubicBezTo>
                        <a:pt x="918" y="3872"/>
                        <a:pt x="926" y="3831"/>
                        <a:pt x="924" y="3811"/>
                      </a:cubicBezTo>
                      <a:cubicBezTo>
                        <a:pt x="922" y="3791"/>
                        <a:pt x="912" y="3784"/>
                        <a:pt x="903" y="3778"/>
                      </a:cubicBezTo>
                      <a:cubicBezTo>
                        <a:pt x="894" y="3772"/>
                        <a:pt x="873" y="3779"/>
                        <a:pt x="870" y="3775"/>
                      </a:cubicBezTo>
                      <a:cubicBezTo>
                        <a:pt x="867" y="3771"/>
                        <a:pt x="870" y="3769"/>
                        <a:pt x="884" y="3756"/>
                      </a:cubicBezTo>
                      <a:cubicBezTo>
                        <a:pt x="898" y="3743"/>
                        <a:pt x="944" y="3719"/>
                        <a:pt x="956" y="3697"/>
                      </a:cubicBezTo>
                      <a:cubicBezTo>
                        <a:pt x="968" y="3675"/>
                        <a:pt x="954" y="3651"/>
                        <a:pt x="958" y="3623"/>
                      </a:cubicBezTo>
                      <a:cubicBezTo>
                        <a:pt x="963" y="3595"/>
                        <a:pt x="979" y="3555"/>
                        <a:pt x="984" y="3526"/>
                      </a:cubicBezTo>
                      <a:cubicBezTo>
                        <a:pt x="989" y="3497"/>
                        <a:pt x="997" y="3463"/>
                        <a:pt x="990" y="3448"/>
                      </a:cubicBezTo>
                      <a:cubicBezTo>
                        <a:pt x="983" y="3433"/>
                        <a:pt x="958" y="3439"/>
                        <a:pt x="945" y="3436"/>
                      </a:cubicBezTo>
                      <a:cubicBezTo>
                        <a:pt x="932" y="3433"/>
                        <a:pt x="917" y="3435"/>
                        <a:pt x="913" y="3432"/>
                      </a:cubicBezTo>
                      <a:cubicBezTo>
                        <a:pt x="909" y="3429"/>
                        <a:pt x="918" y="3423"/>
                        <a:pt x="921" y="3418"/>
                      </a:cubicBezTo>
                      <a:cubicBezTo>
                        <a:pt x="924" y="3413"/>
                        <a:pt x="928" y="3408"/>
                        <a:pt x="933" y="3404"/>
                      </a:cubicBezTo>
                      <a:cubicBezTo>
                        <a:pt x="938" y="3400"/>
                        <a:pt x="943" y="3397"/>
                        <a:pt x="951" y="3394"/>
                      </a:cubicBezTo>
                      <a:cubicBezTo>
                        <a:pt x="959" y="3391"/>
                        <a:pt x="968" y="3391"/>
                        <a:pt x="979" y="3388"/>
                      </a:cubicBezTo>
                      <a:cubicBezTo>
                        <a:pt x="990" y="3385"/>
                        <a:pt x="1007" y="3379"/>
                        <a:pt x="1020" y="3376"/>
                      </a:cubicBezTo>
                      <a:cubicBezTo>
                        <a:pt x="1033" y="3373"/>
                        <a:pt x="1046" y="3367"/>
                        <a:pt x="1059" y="3367"/>
                      </a:cubicBezTo>
                      <a:cubicBezTo>
                        <a:pt x="1072" y="3367"/>
                        <a:pt x="1083" y="3375"/>
                        <a:pt x="1098" y="3376"/>
                      </a:cubicBezTo>
                      <a:cubicBezTo>
                        <a:pt x="1113" y="3377"/>
                        <a:pt x="1137" y="3382"/>
                        <a:pt x="1149" y="3373"/>
                      </a:cubicBezTo>
                      <a:cubicBezTo>
                        <a:pt x="1161" y="3364"/>
                        <a:pt x="1159" y="3330"/>
                        <a:pt x="1170" y="3322"/>
                      </a:cubicBezTo>
                      <a:cubicBezTo>
                        <a:pt x="1181" y="3314"/>
                        <a:pt x="1207" y="3332"/>
                        <a:pt x="1215" y="3325"/>
                      </a:cubicBezTo>
                      <a:cubicBezTo>
                        <a:pt x="1223" y="3318"/>
                        <a:pt x="1219" y="3303"/>
                        <a:pt x="1221" y="3281"/>
                      </a:cubicBezTo>
                      <a:cubicBezTo>
                        <a:pt x="1223" y="3259"/>
                        <a:pt x="1219" y="3216"/>
                        <a:pt x="1226" y="3194"/>
                      </a:cubicBezTo>
                      <a:cubicBezTo>
                        <a:pt x="1233" y="3173"/>
                        <a:pt x="1247" y="3171"/>
                        <a:pt x="1262" y="3154"/>
                      </a:cubicBezTo>
                      <a:cubicBezTo>
                        <a:pt x="1277" y="3137"/>
                        <a:pt x="1302" y="3101"/>
                        <a:pt x="1318" y="3092"/>
                      </a:cubicBezTo>
                      <a:cubicBezTo>
                        <a:pt x="1334" y="3083"/>
                        <a:pt x="1348" y="3095"/>
                        <a:pt x="1359" y="3097"/>
                      </a:cubicBezTo>
                      <a:cubicBezTo>
                        <a:pt x="1370" y="3099"/>
                        <a:pt x="1379" y="3098"/>
                        <a:pt x="1383" y="3103"/>
                      </a:cubicBezTo>
                      <a:cubicBezTo>
                        <a:pt x="1387" y="3108"/>
                        <a:pt x="1387" y="3123"/>
                        <a:pt x="1383" y="3130"/>
                      </a:cubicBezTo>
                      <a:cubicBezTo>
                        <a:pt x="1379" y="3137"/>
                        <a:pt x="1363" y="3138"/>
                        <a:pt x="1356" y="3145"/>
                      </a:cubicBezTo>
                      <a:cubicBezTo>
                        <a:pt x="1349" y="3152"/>
                        <a:pt x="1345" y="3164"/>
                        <a:pt x="1338" y="3175"/>
                      </a:cubicBezTo>
                      <a:cubicBezTo>
                        <a:pt x="1331" y="3186"/>
                        <a:pt x="1316" y="3197"/>
                        <a:pt x="1311" y="3211"/>
                      </a:cubicBezTo>
                      <a:cubicBezTo>
                        <a:pt x="1306" y="3225"/>
                        <a:pt x="1305" y="3246"/>
                        <a:pt x="1308" y="3262"/>
                      </a:cubicBezTo>
                      <a:cubicBezTo>
                        <a:pt x="1311" y="3278"/>
                        <a:pt x="1325" y="3292"/>
                        <a:pt x="1329" y="3307"/>
                      </a:cubicBezTo>
                      <a:cubicBezTo>
                        <a:pt x="1333" y="3322"/>
                        <a:pt x="1341" y="3331"/>
                        <a:pt x="1332" y="3352"/>
                      </a:cubicBezTo>
                      <a:cubicBezTo>
                        <a:pt x="1323" y="3373"/>
                        <a:pt x="1290" y="3410"/>
                        <a:pt x="1275" y="3436"/>
                      </a:cubicBezTo>
                      <a:cubicBezTo>
                        <a:pt x="1260" y="3462"/>
                        <a:pt x="1241" y="3492"/>
                        <a:pt x="1239" y="3511"/>
                      </a:cubicBezTo>
                      <a:cubicBezTo>
                        <a:pt x="1237" y="3530"/>
                        <a:pt x="1246" y="3544"/>
                        <a:pt x="1260" y="3550"/>
                      </a:cubicBezTo>
                      <a:cubicBezTo>
                        <a:pt x="1274" y="3556"/>
                        <a:pt x="1304" y="3544"/>
                        <a:pt x="1326" y="3547"/>
                      </a:cubicBezTo>
                      <a:cubicBezTo>
                        <a:pt x="1348" y="3550"/>
                        <a:pt x="1372" y="3566"/>
                        <a:pt x="1392" y="3569"/>
                      </a:cubicBezTo>
                      <a:cubicBezTo>
                        <a:pt x="1412" y="3572"/>
                        <a:pt x="1427" y="3564"/>
                        <a:pt x="1448" y="3567"/>
                      </a:cubicBezTo>
                      <a:cubicBezTo>
                        <a:pt x="1469" y="3570"/>
                        <a:pt x="1493" y="3575"/>
                        <a:pt x="1521" y="3586"/>
                      </a:cubicBezTo>
                      <a:cubicBezTo>
                        <a:pt x="1549" y="3597"/>
                        <a:pt x="1583" y="3621"/>
                        <a:pt x="1617" y="3631"/>
                      </a:cubicBezTo>
                      <a:cubicBezTo>
                        <a:pt x="1651" y="3641"/>
                        <a:pt x="1691" y="3642"/>
                        <a:pt x="1724" y="3646"/>
                      </a:cubicBezTo>
                      <a:cubicBezTo>
                        <a:pt x="1756" y="3650"/>
                        <a:pt x="1785" y="3656"/>
                        <a:pt x="1813" y="3656"/>
                      </a:cubicBezTo>
                      <a:cubicBezTo>
                        <a:pt x="1841" y="3656"/>
                        <a:pt x="1876" y="3665"/>
                        <a:pt x="1893" y="3646"/>
                      </a:cubicBezTo>
                      <a:cubicBezTo>
                        <a:pt x="1910" y="3627"/>
                        <a:pt x="1900" y="3588"/>
                        <a:pt x="1914" y="3544"/>
                      </a:cubicBezTo>
                      <a:cubicBezTo>
                        <a:pt x="1928" y="3500"/>
                        <a:pt x="1958" y="3435"/>
                        <a:pt x="1980" y="3379"/>
                      </a:cubicBezTo>
                      <a:cubicBezTo>
                        <a:pt x="2002" y="3323"/>
                        <a:pt x="2031" y="3253"/>
                        <a:pt x="2049" y="3205"/>
                      </a:cubicBezTo>
                      <a:cubicBezTo>
                        <a:pt x="2067" y="3157"/>
                        <a:pt x="2087" y="3123"/>
                        <a:pt x="2086" y="3090"/>
                      </a:cubicBezTo>
                      <a:cubicBezTo>
                        <a:pt x="2085" y="3057"/>
                        <a:pt x="2057" y="3026"/>
                        <a:pt x="2043" y="3006"/>
                      </a:cubicBezTo>
                      <a:cubicBezTo>
                        <a:pt x="2029" y="2986"/>
                        <a:pt x="2012" y="2991"/>
                        <a:pt x="2004" y="2968"/>
                      </a:cubicBezTo>
                      <a:cubicBezTo>
                        <a:pt x="1996" y="2945"/>
                        <a:pt x="1980" y="2915"/>
                        <a:pt x="1995" y="2869"/>
                      </a:cubicBezTo>
                      <a:cubicBezTo>
                        <a:pt x="2010" y="2823"/>
                        <a:pt x="2056" y="2749"/>
                        <a:pt x="2091" y="2695"/>
                      </a:cubicBezTo>
                      <a:cubicBezTo>
                        <a:pt x="2126" y="2641"/>
                        <a:pt x="2161" y="2597"/>
                        <a:pt x="2208" y="2545"/>
                      </a:cubicBezTo>
                      <a:cubicBezTo>
                        <a:pt x="2255" y="2493"/>
                        <a:pt x="2330" y="2431"/>
                        <a:pt x="2373" y="2383"/>
                      </a:cubicBezTo>
                      <a:cubicBezTo>
                        <a:pt x="2416" y="2335"/>
                        <a:pt x="2444" y="2288"/>
                        <a:pt x="2466" y="2254"/>
                      </a:cubicBezTo>
                      <a:cubicBezTo>
                        <a:pt x="2488" y="2220"/>
                        <a:pt x="2497" y="2207"/>
                        <a:pt x="2508" y="2176"/>
                      </a:cubicBezTo>
                      <a:cubicBezTo>
                        <a:pt x="2519" y="2145"/>
                        <a:pt x="2523" y="2107"/>
                        <a:pt x="2532" y="2071"/>
                      </a:cubicBezTo>
                      <a:cubicBezTo>
                        <a:pt x="2541" y="2035"/>
                        <a:pt x="2555" y="1996"/>
                        <a:pt x="2565" y="1957"/>
                      </a:cubicBezTo>
                      <a:cubicBezTo>
                        <a:pt x="2575" y="1918"/>
                        <a:pt x="2584" y="1867"/>
                        <a:pt x="2592" y="1834"/>
                      </a:cubicBezTo>
                      <a:cubicBezTo>
                        <a:pt x="2600" y="1801"/>
                        <a:pt x="2604" y="1797"/>
                        <a:pt x="2616" y="1756"/>
                      </a:cubicBezTo>
                      <a:cubicBezTo>
                        <a:pt x="2628" y="1715"/>
                        <a:pt x="2656" y="1625"/>
                        <a:pt x="2667" y="1588"/>
                      </a:cubicBezTo>
                      <a:cubicBezTo>
                        <a:pt x="2678" y="1551"/>
                        <a:pt x="2677" y="1554"/>
                        <a:pt x="2682" y="1531"/>
                      </a:cubicBezTo>
                      <a:cubicBezTo>
                        <a:pt x="2687" y="1508"/>
                        <a:pt x="2690" y="1473"/>
                        <a:pt x="2697" y="1447"/>
                      </a:cubicBezTo>
                      <a:cubicBezTo>
                        <a:pt x="2704" y="1421"/>
                        <a:pt x="2725" y="1399"/>
                        <a:pt x="2724" y="1378"/>
                      </a:cubicBezTo>
                      <a:cubicBezTo>
                        <a:pt x="2723" y="1357"/>
                        <a:pt x="2706" y="1330"/>
                        <a:pt x="2688" y="1318"/>
                      </a:cubicBezTo>
                      <a:cubicBezTo>
                        <a:pt x="2670" y="1306"/>
                        <a:pt x="2640" y="1302"/>
                        <a:pt x="2617" y="1305"/>
                      </a:cubicBezTo>
                      <a:cubicBezTo>
                        <a:pt x="2594" y="1308"/>
                        <a:pt x="2566" y="1334"/>
                        <a:pt x="2550" y="1336"/>
                      </a:cubicBezTo>
                      <a:cubicBezTo>
                        <a:pt x="2534" y="1338"/>
                        <a:pt x="2534" y="1323"/>
                        <a:pt x="2521" y="1317"/>
                      </a:cubicBezTo>
                      <a:cubicBezTo>
                        <a:pt x="2508" y="1311"/>
                        <a:pt x="2498" y="1304"/>
                        <a:pt x="2475" y="1300"/>
                      </a:cubicBezTo>
                      <a:cubicBezTo>
                        <a:pt x="2452" y="1296"/>
                        <a:pt x="2414" y="1291"/>
                        <a:pt x="2385" y="1294"/>
                      </a:cubicBezTo>
                      <a:cubicBezTo>
                        <a:pt x="2356" y="1297"/>
                        <a:pt x="2335" y="1308"/>
                        <a:pt x="2301" y="1315"/>
                      </a:cubicBezTo>
                      <a:cubicBezTo>
                        <a:pt x="2267" y="1322"/>
                        <a:pt x="2213" y="1329"/>
                        <a:pt x="2181" y="1338"/>
                      </a:cubicBezTo>
                      <a:cubicBezTo>
                        <a:pt x="2149" y="1347"/>
                        <a:pt x="2127" y="1356"/>
                        <a:pt x="2109" y="1372"/>
                      </a:cubicBezTo>
                      <a:cubicBezTo>
                        <a:pt x="2091" y="1388"/>
                        <a:pt x="2080" y="1414"/>
                        <a:pt x="2073" y="1432"/>
                      </a:cubicBezTo>
                      <a:cubicBezTo>
                        <a:pt x="2066" y="1450"/>
                        <a:pt x="2066" y="1466"/>
                        <a:pt x="2067" y="1483"/>
                      </a:cubicBezTo>
                      <a:cubicBezTo>
                        <a:pt x="2068" y="1500"/>
                        <a:pt x="2078" y="1518"/>
                        <a:pt x="2079" y="1534"/>
                      </a:cubicBezTo>
                      <a:cubicBezTo>
                        <a:pt x="2080" y="1550"/>
                        <a:pt x="2080" y="1569"/>
                        <a:pt x="2074" y="1578"/>
                      </a:cubicBezTo>
                      <a:cubicBezTo>
                        <a:pt x="2068" y="1587"/>
                        <a:pt x="2054" y="1586"/>
                        <a:pt x="2040" y="1591"/>
                      </a:cubicBezTo>
                      <a:cubicBezTo>
                        <a:pt x="2026" y="1596"/>
                        <a:pt x="2008" y="1603"/>
                        <a:pt x="1992" y="1606"/>
                      </a:cubicBezTo>
                      <a:cubicBezTo>
                        <a:pt x="1976" y="1609"/>
                        <a:pt x="1958" y="1608"/>
                        <a:pt x="1944" y="1612"/>
                      </a:cubicBezTo>
                      <a:cubicBezTo>
                        <a:pt x="1930" y="1616"/>
                        <a:pt x="1915" y="1626"/>
                        <a:pt x="1905" y="1630"/>
                      </a:cubicBezTo>
                      <a:cubicBezTo>
                        <a:pt x="1895" y="1634"/>
                        <a:pt x="1888" y="1635"/>
                        <a:pt x="1881" y="1636"/>
                      </a:cubicBezTo>
                      <a:cubicBezTo>
                        <a:pt x="1874" y="1637"/>
                        <a:pt x="1866" y="1643"/>
                        <a:pt x="1863" y="1639"/>
                      </a:cubicBezTo>
                      <a:cubicBezTo>
                        <a:pt x="1860" y="1635"/>
                        <a:pt x="1861" y="1620"/>
                        <a:pt x="1860" y="1609"/>
                      </a:cubicBezTo>
                      <a:cubicBezTo>
                        <a:pt x="1859" y="1598"/>
                        <a:pt x="1855" y="1584"/>
                        <a:pt x="1854" y="1570"/>
                      </a:cubicBezTo>
                      <a:cubicBezTo>
                        <a:pt x="1853" y="1556"/>
                        <a:pt x="1860" y="1540"/>
                        <a:pt x="1854" y="1522"/>
                      </a:cubicBezTo>
                      <a:cubicBezTo>
                        <a:pt x="1848" y="1504"/>
                        <a:pt x="1830" y="1476"/>
                        <a:pt x="1818" y="1459"/>
                      </a:cubicBezTo>
                      <a:cubicBezTo>
                        <a:pt x="1806" y="1442"/>
                        <a:pt x="1793" y="1429"/>
                        <a:pt x="1779" y="1420"/>
                      </a:cubicBezTo>
                      <a:cubicBezTo>
                        <a:pt x="1765" y="1411"/>
                        <a:pt x="1742" y="1411"/>
                        <a:pt x="1734" y="1402"/>
                      </a:cubicBezTo>
                      <a:cubicBezTo>
                        <a:pt x="1726" y="1393"/>
                        <a:pt x="1725" y="1383"/>
                        <a:pt x="1731" y="1369"/>
                      </a:cubicBezTo>
                      <a:cubicBezTo>
                        <a:pt x="1737" y="1355"/>
                        <a:pt x="1764" y="1329"/>
                        <a:pt x="1770" y="1315"/>
                      </a:cubicBezTo>
                      <a:cubicBezTo>
                        <a:pt x="1776" y="1301"/>
                        <a:pt x="1768" y="1296"/>
                        <a:pt x="1770" y="1285"/>
                      </a:cubicBezTo>
                      <a:cubicBezTo>
                        <a:pt x="1772" y="1274"/>
                        <a:pt x="1773" y="1261"/>
                        <a:pt x="1782" y="1246"/>
                      </a:cubicBezTo>
                      <a:cubicBezTo>
                        <a:pt x="1791" y="1231"/>
                        <a:pt x="1812" y="1210"/>
                        <a:pt x="1824" y="1195"/>
                      </a:cubicBezTo>
                      <a:cubicBezTo>
                        <a:pt x="1836" y="1180"/>
                        <a:pt x="1849" y="1171"/>
                        <a:pt x="1854" y="1156"/>
                      </a:cubicBezTo>
                      <a:cubicBezTo>
                        <a:pt x="1859" y="1141"/>
                        <a:pt x="1856" y="1122"/>
                        <a:pt x="1854" y="1105"/>
                      </a:cubicBezTo>
                      <a:cubicBezTo>
                        <a:pt x="1852" y="1088"/>
                        <a:pt x="1846" y="1067"/>
                        <a:pt x="1845" y="1054"/>
                      </a:cubicBezTo>
                      <a:cubicBezTo>
                        <a:pt x="1844" y="1041"/>
                        <a:pt x="1846" y="1039"/>
                        <a:pt x="1851" y="1027"/>
                      </a:cubicBezTo>
                      <a:cubicBezTo>
                        <a:pt x="1856" y="1015"/>
                        <a:pt x="1865" y="995"/>
                        <a:pt x="1878" y="979"/>
                      </a:cubicBezTo>
                      <a:cubicBezTo>
                        <a:pt x="1891" y="963"/>
                        <a:pt x="1916" y="947"/>
                        <a:pt x="1929" y="931"/>
                      </a:cubicBezTo>
                      <a:cubicBezTo>
                        <a:pt x="1942" y="915"/>
                        <a:pt x="1948" y="899"/>
                        <a:pt x="1953" y="886"/>
                      </a:cubicBezTo>
                      <a:cubicBezTo>
                        <a:pt x="1958" y="873"/>
                        <a:pt x="1959" y="862"/>
                        <a:pt x="1962" y="850"/>
                      </a:cubicBezTo>
                      <a:cubicBezTo>
                        <a:pt x="1965" y="838"/>
                        <a:pt x="1974" y="823"/>
                        <a:pt x="1974" y="811"/>
                      </a:cubicBezTo>
                      <a:cubicBezTo>
                        <a:pt x="1974" y="799"/>
                        <a:pt x="1969" y="783"/>
                        <a:pt x="1962" y="775"/>
                      </a:cubicBezTo>
                      <a:cubicBezTo>
                        <a:pt x="1955" y="767"/>
                        <a:pt x="1939" y="773"/>
                        <a:pt x="1935" y="763"/>
                      </a:cubicBezTo>
                      <a:cubicBezTo>
                        <a:pt x="1931" y="753"/>
                        <a:pt x="1937" y="731"/>
                        <a:pt x="1938" y="715"/>
                      </a:cubicBezTo>
                      <a:cubicBezTo>
                        <a:pt x="1939" y="699"/>
                        <a:pt x="1942" y="678"/>
                        <a:pt x="1941" y="664"/>
                      </a:cubicBezTo>
                      <a:cubicBezTo>
                        <a:pt x="1940" y="650"/>
                        <a:pt x="1934" y="646"/>
                        <a:pt x="1932" y="631"/>
                      </a:cubicBezTo>
                      <a:cubicBezTo>
                        <a:pt x="1930" y="616"/>
                        <a:pt x="1928" y="586"/>
                        <a:pt x="1926" y="571"/>
                      </a:cubicBezTo>
                      <a:cubicBezTo>
                        <a:pt x="1924" y="556"/>
                        <a:pt x="1923" y="547"/>
                        <a:pt x="1917" y="538"/>
                      </a:cubicBezTo>
                      <a:cubicBezTo>
                        <a:pt x="1911" y="529"/>
                        <a:pt x="1892" y="528"/>
                        <a:pt x="1887" y="514"/>
                      </a:cubicBezTo>
                      <a:cubicBezTo>
                        <a:pt x="1882" y="500"/>
                        <a:pt x="1882" y="477"/>
                        <a:pt x="1884" y="454"/>
                      </a:cubicBezTo>
                      <a:cubicBezTo>
                        <a:pt x="1886" y="431"/>
                        <a:pt x="1892" y="395"/>
                        <a:pt x="1902" y="376"/>
                      </a:cubicBezTo>
                      <a:cubicBezTo>
                        <a:pt x="1912" y="357"/>
                        <a:pt x="1930" y="353"/>
                        <a:pt x="1944" y="343"/>
                      </a:cubicBezTo>
                      <a:cubicBezTo>
                        <a:pt x="1958" y="333"/>
                        <a:pt x="1971" y="322"/>
                        <a:pt x="1983" y="313"/>
                      </a:cubicBezTo>
                      <a:cubicBezTo>
                        <a:pt x="1995" y="304"/>
                        <a:pt x="2010" y="298"/>
                        <a:pt x="2019" y="289"/>
                      </a:cubicBezTo>
                      <a:cubicBezTo>
                        <a:pt x="2028" y="280"/>
                        <a:pt x="2030" y="270"/>
                        <a:pt x="2037" y="259"/>
                      </a:cubicBezTo>
                      <a:cubicBezTo>
                        <a:pt x="2044" y="248"/>
                        <a:pt x="2050" y="237"/>
                        <a:pt x="2058" y="223"/>
                      </a:cubicBezTo>
                      <a:cubicBezTo>
                        <a:pt x="2066" y="209"/>
                        <a:pt x="2072" y="191"/>
                        <a:pt x="2082" y="178"/>
                      </a:cubicBezTo>
                      <a:cubicBezTo>
                        <a:pt x="2092" y="165"/>
                        <a:pt x="2109" y="155"/>
                        <a:pt x="2118" y="145"/>
                      </a:cubicBezTo>
                      <a:cubicBezTo>
                        <a:pt x="2127" y="135"/>
                        <a:pt x="2129" y="126"/>
                        <a:pt x="2136" y="121"/>
                      </a:cubicBezTo>
                      <a:cubicBezTo>
                        <a:pt x="2143" y="116"/>
                        <a:pt x="2153" y="115"/>
                        <a:pt x="2163" y="112"/>
                      </a:cubicBezTo>
                      <a:cubicBezTo>
                        <a:pt x="2173" y="109"/>
                        <a:pt x="2188" y="106"/>
                        <a:pt x="2199" y="103"/>
                      </a:cubicBezTo>
                      <a:cubicBezTo>
                        <a:pt x="2210" y="100"/>
                        <a:pt x="2221" y="96"/>
                        <a:pt x="2232" y="94"/>
                      </a:cubicBezTo>
                      <a:cubicBezTo>
                        <a:pt x="2243" y="92"/>
                        <a:pt x="2253" y="89"/>
                        <a:pt x="2265" y="88"/>
                      </a:cubicBezTo>
                      <a:cubicBezTo>
                        <a:pt x="2277" y="87"/>
                        <a:pt x="2291" y="87"/>
                        <a:pt x="2304" y="88"/>
                      </a:cubicBezTo>
                      <a:cubicBezTo>
                        <a:pt x="2317" y="89"/>
                        <a:pt x="2336" y="92"/>
                        <a:pt x="2346" y="97"/>
                      </a:cubicBezTo>
                      <a:cubicBezTo>
                        <a:pt x="2356" y="102"/>
                        <a:pt x="2360" y="115"/>
                        <a:pt x="2367" y="118"/>
                      </a:cubicBezTo>
                      <a:cubicBezTo>
                        <a:pt x="2374" y="121"/>
                        <a:pt x="2383" y="116"/>
                        <a:pt x="2391" y="118"/>
                      </a:cubicBezTo>
                      <a:cubicBezTo>
                        <a:pt x="2399" y="120"/>
                        <a:pt x="2408" y="123"/>
                        <a:pt x="2418" y="130"/>
                      </a:cubicBezTo>
                      <a:cubicBezTo>
                        <a:pt x="2428" y="137"/>
                        <a:pt x="2442" y="146"/>
                        <a:pt x="2451" y="157"/>
                      </a:cubicBezTo>
                      <a:cubicBezTo>
                        <a:pt x="2460" y="168"/>
                        <a:pt x="2462" y="186"/>
                        <a:pt x="2469" y="193"/>
                      </a:cubicBezTo>
                      <a:cubicBezTo>
                        <a:pt x="2476" y="200"/>
                        <a:pt x="2490" y="195"/>
                        <a:pt x="2496" y="199"/>
                      </a:cubicBezTo>
                      <a:cubicBezTo>
                        <a:pt x="2502" y="203"/>
                        <a:pt x="2504" y="213"/>
                        <a:pt x="2508" y="220"/>
                      </a:cubicBezTo>
                      <a:cubicBezTo>
                        <a:pt x="2512" y="227"/>
                        <a:pt x="2519" y="233"/>
                        <a:pt x="2523" y="241"/>
                      </a:cubicBezTo>
                      <a:cubicBezTo>
                        <a:pt x="2527" y="249"/>
                        <a:pt x="2530" y="260"/>
                        <a:pt x="2532" y="268"/>
                      </a:cubicBezTo>
                      <a:cubicBezTo>
                        <a:pt x="2534" y="276"/>
                        <a:pt x="2535" y="285"/>
                        <a:pt x="2538" y="292"/>
                      </a:cubicBezTo>
                      <a:cubicBezTo>
                        <a:pt x="2541" y="299"/>
                        <a:pt x="2552" y="305"/>
                        <a:pt x="2553" y="313"/>
                      </a:cubicBezTo>
                      <a:cubicBezTo>
                        <a:pt x="2554" y="321"/>
                        <a:pt x="2533" y="336"/>
                        <a:pt x="2541" y="340"/>
                      </a:cubicBezTo>
                      <a:cubicBezTo>
                        <a:pt x="2549" y="344"/>
                        <a:pt x="2583" y="337"/>
                        <a:pt x="2601" y="337"/>
                      </a:cubicBezTo>
                      <a:cubicBezTo>
                        <a:pt x="2619" y="337"/>
                        <a:pt x="2640" y="341"/>
                        <a:pt x="2652" y="337"/>
                      </a:cubicBezTo>
                      <a:cubicBezTo>
                        <a:pt x="2664" y="333"/>
                        <a:pt x="2666" y="320"/>
                        <a:pt x="2673" y="310"/>
                      </a:cubicBezTo>
                      <a:cubicBezTo>
                        <a:pt x="2680" y="300"/>
                        <a:pt x="2687" y="288"/>
                        <a:pt x="2694" y="277"/>
                      </a:cubicBezTo>
                      <a:cubicBezTo>
                        <a:pt x="2701" y="266"/>
                        <a:pt x="2714" y="255"/>
                        <a:pt x="2718" y="244"/>
                      </a:cubicBezTo>
                      <a:cubicBezTo>
                        <a:pt x="2722" y="233"/>
                        <a:pt x="2719" y="221"/>
                        <a:pt x="2721" y="208"/>
                      </a:cubicBezTo>
                      <a:cubicBezTo>
                        <a:pt x="2723" y="195"/>
                        <a:pt x="2728" y="181"/>
                        <a:pt x="2730" y="166"/>
                      </a:cubicBezTo>
                      <a:cubicBezTo>
                        <a:pt x="2732" y="151"/>
                        <a:pt x="2737" y="128"/>
                        <a:pt x="2736" y="115"/>
                      </a:cubicBezTo>
                      <a:cubicBezTo>
                        <a:pt x="2735" y="102"/>
                        <a:pt x="2728" y="97"/>
                        <a:pt x="2724" y="88"/>
                      </a:cubicBezTo>
                      <a:cubicBezTo>
                        <a:pt x="2720" y="79"/>
                        <a:pt x="2716" y="70"/>
                        <a:pt x="2715" y="61"/>
                      </a:cubicBezTo>
                      <a:cubicBezTo>
                        <a:pt x="2714" y="52"/>
                        <a:pt x="2715" y="40"/>
                        <a:pt x="2718" y="34"/>
                      </a:cubicBezTo>
                      <a:cubicBezTo>
                        <a:pt x="2721" y="28"/>
                        <a:pt x="2724" y="25"/>
                        <a:pt x="2733" y="22"/>
                      </a:cubicBezTo>
                      <a:cubicBezTo>
                        <a:pt x="2742" y="19"/>
                        <a:pt x="2759" y="16"/>
                        <a:pt x="2775" y="13"/>
                      </a:cubicBezTo>
                      <a:cubicBezTo>
                        <a:pt x="2791" y="10"/>
                        <a:pt x="2815" y="0"/>
                        <a:pt x="2829" y="4"/>
                      </a:cubicBezTo>
                      <a:cubicBezTo>
                        <a:pt x="2843" y="8"/>
                        <a:pt x="2851" y="25"/>
                        <a:pt x="2862" y="37"/>
                      </a:cubicBezTo>
                      <a:cubicBezTo>
                        <a:pt x="2873" y="49"/>
                        <a:pt x="2882" y="61"/>
                        <a:pt x="2895" y="73"/>
                      </a:cubicBezTo>
                      <a:cubicBezTo>
                        <a:pt x="2908" y="85"/>
                        <a:pt x="2925" y="99"/>
                        <a:pt x="2943" y="106"/>
                      </a:cubicBezTo>
                      <a:cubicBezTo>
                        <a:pt x="2961" y="113"/>
                        <a:pt x="2987" y="113"/>
                        <a:pt x="3003" y="115"/>
                      </a:cubicBezTo>
                      <a:cubicBezTo>
                        <a:pt x="3019" y="117"/>
                        <a:pt x="3028" y="112"/>
                        <a:pt x="3039" y="115"/>
                      </a:cubicBezTo>
                      <a:cubicBezTo>
                        <a:pt x="3050" y="118"/>
                        <a:pt x="3060" y="130"/>
                        <a:pt x="3069" y="133"/>
                      </a:cubicBezTo>
                      <a:cubicBezTo>
                        <a:pt x="3078" y="136"/>
                        <a:pt x="3084" y="136"/>
                        <a:pt x="3096" y="133"/>
                      </a:cubicBezTo>
                      <a:close/>
                    </a:path>
                  </a:pathLst>
                </a:custGeom>
                <a:solidFill>
                  <a:srgbClr val="FFCC99">
                    <a:alpha val="59999"/>
                  </a:srgbClr>
                </a:solidFill>
                <a:ln w="9525" cap="flat" cmpd="sng">
                  <a:solidFill>
                    <a:srgbClr val="FF9900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  <p:sp>
              <p:nvSpPr>
                <p:cNvPr id="4132" name="Freeform 19"/>
                <p:cNvSpPr>
                  <a:spLocks/>
                </p:cNvSpPr>
                <p:nvPr/>
              </p:nvSpPr>
              <p:spPr bwMode="auto">
                <a:xfrm>
                  <a:off x="5715" y="8492"/>
                  <a:ext cx="1594" cy="1825"/>
                </a:xfrm>
                <a:custGeom>
                  <a:avLst/>
                  <a:gdLst>
                    <a:gd name="T0" fmla="*/ 237 w 1594"/>
                    <a:gd name="T1" fmla="*/ 142 h 1825"/>
                    <a:gd name="T2" fmla="*/ 210 w 1594"/>
                    <a:gd name="T3" fmla="*/ 214 h 1825"/>
                    <a:gd name="T4" fmla="*/ 171 w 1594"/>
                    <a:gd name="T5" fmla="*/ 274 h 1825"/>
                    <a:gd name="T6" fmla="*/ 192 w 1594"/>
                    <a:gd name="T7" fmla="*/ 361 h 1825"/>
                    <a:gd name="T8" fmla="*/ 114 w 1594"/>
                    <a:gd name="T9" fmla="*/ 472 h 1825"/>
                    <a:gd name="T10" fmla="*/ 75 w 1594"/>
                    <a:gd name="T11" fmla="*/ 664 h 1825"/>
                    <a:gd name="T12" fmla="*/ 39 w 1594"/>
                    <a:gd name="T13" fmla="*/ 760 h 1825"/>
                    <a:gd name="T14" fmla="*/ 0 w 1594"/>
                    <a:gd name="T15" fmla="*/ 886 h 1825"/>
                    <a:gd name="T16" fmla="*/ 57 w 1594"/>
                    <a:gd name="T17" fmla="*/ 910 h 1825"/>
                    <a:gd name="T18" fmla="*/ 105 w 1594"/>
                    <a:gd name="T19" fmla="*/ 997 h 1825"/>
                    <a:gd name="T20" fmla="*/ 132 w 1594"/>
                    <a:gd name="T21" fmla="*/ 1153 h 1825"/>
                    <a:gd name="T22" fmla="*/ 285 w 1594"/>
                    <a:gd name="T23" fmla="*/ 1219 h 1825"/>
                    <a:gd name="T24" fmla="*/ 348 w 1594"/>
                    <a:gd name="T25" fmla="*/ 1270 h 1825"/>
                    <a:gd name="T26" fmla="*/ 483 w 1594"/>
                    <a:gd name="T27" fmla="*/ 1135 h 1825"/>
                    <a:gd name="T28" fmla="*/ 552 w 1594"/>
                    <a:gd name="T29" fmla="*/ 1210 h 1825"/>
                    <a:gd name="T30" fmla="*/ 621 w 1594"/>
                    <a:gd name="T31" fmla="*/ 1357 h 1825"/>
                    <a:gd name="T32" fmla="*/ 648 w 1594"/>
                    <a:gd name="T33" fmla="*/ 1450 h 1825"/>
                    <a:gd name="T34" fmla="*/ 591 w 1594"/>
                    <a:gd name="T35" fmla="*/ 1492 h 1825"/>
                    <a:gd name="T36" fmla="*/ 534 w 1594"/>
                    <a:gd name="T37" fmla="*/ 1585 h 1825"/>
                    <a:gd name="T38" fmla="*/ 540 w 1594"/>
                    <a:gd name="T39" fmla="*/ 1696 h 1825"/>
                    <a:gd name="T40" fmla="*/ 651 w 1594"/>
                    <a:gd name="T41" fmla="*/ 1789 h 1825"/>
                    <a:gd name="T42" fmla="*/ 780 w 1594"/>
                    <a:gd name="T43" fmla="*/ 1792 h 1825"/>
                    <a:gd name="T44" fmla="*/ 968 w 1594"/>
                    <a:gd name="T45" fmla="*/ 1699 h 1825"/>
                    <a:gd name="T46" fmla="*/ 1163 w 1594"/>
                    <a:gd name="T47" fmla="*/ 1719 h 1825"/>
                    <a:gd name="T48" fmla="*/ 1286 w 1594"/>
                    <a:gd name="T49" fmla="*/ 1789 h 1825"/>
                    <a:gd name="T50" fmla="*/ 1337 w 1594"/>
                    <a:gd name="T51" fmla="*/ 1804 h 1825"/>
                    <a:gd name="T52" fmla="*/ 1448 w 1594"/>
                    <a:gd name="T53" fmla="*/ 1765 h 1825"/>
                    <a:gd name="T54" fmla="*/ 1457 w 1594"/>
                    <a:gd name="T55" fmla="*/ 1720 h 1825"/>
                    <a:gd name="T56" fmla="*/ 1454 w 1594"/>
                    <a:gd name="T57" fmla="*/ 1576 h 1825"/>
                    <a:gd name="T58" fmla="*/ 1413 w 1594"/>
                    <a:gd name="T59" fmla="*/ 1397 h 1825"/>
                    <a:gd name="T60" fmla="*/ 1364 w 1594"/>
                    <a:gd name="T61" fmla="*/ 1321 h 1825"/>
                    <a:gd name="T62" fmla="*/ 1163 w 1594"/>
                    <a:gd name="T63" fmla="*/ 1414 h 1825"/>
                    <a:gd name="T64" fmla="*/ 1085 w 1594"/>
                    <a:gd name="T65" fmla="*/ 1339 h 1825"/>
                    <a:gd name="T66" fmla="*/ 1109 w 1594"/>
                    <a:gd name="T67" fmla="*/ 1273 h 1825"/>
                    <a:gd name="T68" fmla="*/ 1127 w 1594"/>
                    <a:gd name="T69" fmla="*/ 1140 h 1825"/>
                    <a:gd name="T70" fmla="*/ 1226 w 1594"/>
                    <a:gd name="T71" fmla="*/ 1036 h 1825"/>
                    <a:gd name="T72" fmla="*/ 1337 w 1594"/>
                    <a:gd name="T73" fmla="*/ 1027 h 1825"/>
                    <a:gd name="T74" fmla="*/ 1428 w 1594"/>
                    <a:gd name="T75" fmla="*/ 938 h 1825"/>
                    <a:gd name="T76" fmla="*/ 1523 w 1594"/>
                    <a:gd name="T77" fmla="*/ 853 h 1825"/>
                    <a:gd name="T78" fmla="*/ 1316 w 1594"/>
                    <a:gd name="T79" fmla="*/ 884 h 1825"/>
                    <a:gd name="T80" fmla="*/ 1316 w 1594"/>
                    <a:gd name="T81" fmla="*/ 680 h 1825"/>
                    <a:gd name="T82" fmla="*/ 1421 w 1594"/>
                    <a:gd name="T83" fmla="*/ 645 h 1825"/>
                    <a:gd name="T84" fmla="*/ 1455 w 1594"/>
                    <a:gd name="T85" fmla="*/ 555 h 1825"/>
                    <a:gd name="T86" fmla="*/ 1581 w 1594"/>
                    <a:gd name="T87" fmla="*/ 441 h 1825"/>
                    <a:gd name="T88" fmla="*/ 1438 w 1594"/>
                    <a:gd name="T89" fmla="*/ 272 h 1825"/>
                    <a:gd name="T90" fmla="*/ 1296 w 1594"/>
                    <a:gd name="T91" fmla="*/ 189 h 1825"/>
                    <a:gd name="T92" fmla="*/ 1111 w 1594"/>
                    <a:gd name="T93" fmla="*/ 218 h 1825"/>
                    <a:gd name="T94" fmla="*/ 944 w 1594"/>
                    <a:gd name="T95" fmla="*/ 247 h 1825"/>
                    <a:gd name="T96" fmla="*/ 837 w 1594"/>
                    <a:gd name="T97" fmla="*/ 214 h 1825"/>
                    <a:gd name="T98" fmla="*/ 933 w 1594"/>
                    <a:gd name="T99" fmla="*/ 134 h 1825"/>
                    <a:gd name="T100" fmla="*/ 909 w 1594"/>
                    <a:gd name="T101" fmla="*/ 52 h 1825"/>
                    <a:gd name="T102" fmla="*/ 798 w 1594"/>
                    <a:gd name="T103" fmla="*/ 43 h 1825"/>
                    <a:gd name="T104" fmla="*/ 681 w 1594"/>
                    <a:gd name="T105" fmla="*/ 22 h 1825"/>
                    <a:gd name="T106" fmla="*/ 573 w 1594"/>
                    <a:gd name="T107" fmla="*/ 28 h 1825"/>
                    <a:gd name="T108" fmla="*/ 495 w 1594"/>
                    <a:gd name="T109" fmla="*/ 94 h 1825"/>
                    <a:gd name="T110" fmla="*/ 393 w 1594"/>
                    <a:gd name="T111" fmla="*/ 142 h 1825"/>
                    <a:gd name="T112" fmla="*/ 297 w 1594"/>
                    <a:gd name="T113" fmla="*/ 154 h 1825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w 1594"/>
                    <a:gd name="T172" fmla="*/ 0 h 1825"/>
                    <a:gd name="T173" fmla="*/ 1594 w 1594"/>
                    <a:gd name="T174" fmla="*/ 1825 h 1825"/>
                  </a:gdLst>
                  <a:ahLst/>
                  <a:cxnLst>
                    <a:cxn ang="T114">
                      <a:pos x="T0" y="T1"/>
                    </a:cxn>
                    <a:cxn ang="T115">
                      <a:pos x="T2" y="T3"/>
                    </a:cxn>
                    <a:cxn ang="T116">
                      <a:pos x="T4" y="T5"/>
                    </a:cxn>
                    <a:cxn ang="T117">
                      <a:pos x="T6" y="T7"/>
                    </a:cxn>
                    <a:cxn ang="T118">
                      <a:pos x="T8" y="T9"/>
                    </a:cxn>
                    <a:cxn ang="T119">
                      <a:pos x="T10" y="T11"/>
                    </a:cxn>
                    <a:cxn ang="T120">
                      <a:pos x="T12" y="T13"/>
                    </a:cxn>
                    <a:cxn ang="T121">
                      <a:pos x="T14" y="T15"/>
                    </a:cxn>
                    <a:cxn ang="T122">
                      <a:pos x="T16" y="T17"/>
                    </a:cxn>
                    <a:cxn ang="T123">
                      <a:pos x="T18" y="T19"/>
                    </a:cxn>
                    <a:cxn ang="T124">
                      <a:pos x="T20" y="T21"/>
                    </a:cxn>
                    <a:cxn ang="T125">
                      <a:pos x="T22" y="T23"/>
                    </a:cxn>
                    <a:cxn ang="T126">
                      <a:pos x="T24" y="T25"/>
                    </a:cxn>
                    <a:cxn ang="T127">
                      <a:pos x="T26" y="T27"/>
                    </a:cxn>
                    <a:cxn ang="T128">
                      <a:pos x="T28" y="T29"/>
                    </a:cxn>
                    <a:cxn ang="T129">
                      <a:pos x="T30" y="T31"/>
                    </a:cxn>
                    <a:cxn ang="T130">
                      <a:pos x="T32" y="T33"/>
                    </a:cxn>
                    <a:cxn ang="T131">
                      <a:pos x="T34" y="T35"/>
                    </a:cxn>
                    <a:cxn ang="T132">
                      <a:pos x="T36" y="T37"/>
                    </a:cxn>
                    <a:cxn ang="T133">
                      <a:pos x="T38" y="T39"/>
                    </a:cxn>
                    <a:cxn ang="T134">
                      <a:pos x="T40" y="T41"/>
                    </a:cxn>
                    <a:cxn ang="T135">
                      <a:pos x="T42" y="T43"/>
                    </a:cxn>
                    <a:cxn ang="T136">
                      <a:pos x="T44" y="T45"/>
                    </a:cxn>
                    <a:cxn ang="T137">
                      <a:pos x="T46" y="T47"/>
                    </a:cxn>
                    <a:cxn ang="T138">
                      <a:pos x="T48" y="T49"/>
                    </a:cxn>
                    <a:cxn ang="T139">
                      <a:pos x="T50" y="T51"/>
                    </a:cxn>
                    <a:cxn ang="T140">
                      <a:pos x="T52" y="T53"/>
                    </a:cxn>
                    <a:cxn ang="T141">
                      <a:pos x="T54" y="T55"/>
                    </a:cxn>
                    <a:cxn ang="T142">
                      <a:pos x="T56" y="T57"/>
                    </a:cxn>
                    <a:cxn ang="T143">
                      <a:pos x="T58" y="T59"/>
                    </a:cxn>
                    <a:cxn ang="T144">
                      <a:pos x="T60" y="T61"/>
                    </a:cxn>
                    <a:cxn ang="T145">
                      <a:pos x="T62" y="T63"/>
                    </a:cxn>
                    <a:cxn ang="T146">
                      <a:pos x="T64" y="T65"/>
                    </a:cxn>
                    <a:cxn ang="T147">
                      <a:pos x="T66" y="T67"/>
                    </a:cxn>
                    <a:cxn ang="T148">
                      <a:pos x="T68" y="T69"/>
                    </a:cxn>
                    <a:cxn ang="T149">
                      <a:pos x="T70" y="T71"/>
                    </a:cxn>
                    <a:cxn ang="T150">
                      <a:pos x="T72" y="T73"/>
                    </a:cxn>
                    <a:cxn ang="T151">
                      <a:pos x="T74" y="T75"/>
                    </a:cxn>
                    <a:cxn ang="T152">
                      <a:pos x="T76" y="T77"/>
                    </a:cxn>
                    <a:cxn ang="T153">
                      <a:pos x="T78" y="T79"/>
                    </a:cxn>
                    <a:cxn ang="T154">
                      <a:pos x="T80" y="T81"/>
                    </a:cxn>
                    <a:cxn ang="T155">
                      <a:pos x="T82" y="T83"/>
                    </a:cxn>
                    <a:cxn ang="T156">
                      <a:pos x="T84" y="T85"/>
                    </a:cxn>
                    <a:cxn ang="T157">
                      <a:pos x="T86" y="T87"/>
                    </a:cxn>
                    <a:cxn ang="T158">
                      <a:pos x="T88" y="T89"/>
                    </a:cxn>
                    <a:cxn ang="T159">
                      <a:pos x="T90" y="T91"/>
                    </a:cxn>
                    <a:cxn ang="T160">
                      <a:pos x="T92" y="T93"/>
                    </a:cxn>
                    <a:cxn ang="T161">
                      <a:pos x="T94" y="T95"/>
                    </a:cxn>
                    <a:cxn ang="T162">
                      <a:pos x="T96" y="T97"/>
                    </a:cxn>
                    <a:cxn ang="T163">
                      <a:pos x="T98" y="T99"/>
                    </a:cxn>
                    <a:cxn ang="T164">
                      <a:pos x="T100" y="T101"/>
                    </a:cxn>
                    <a:cxn ang="T165">
                      <a:pos x="T102" y="T103"/>
                    </a:cxn>
                    <a:cxn ang="T166">
                      <a:pos x="T104" y="T105"/>
                    </a:cxn>
                    <a:cxn ang="T167">
                      <a:pos x="T106" y="T107"/>
                    </a:cxn>
                    <a:cxn ang="T168">
                      <a:pos x="T108" y="T109"/>
                    </a:cxn>
                    <a:cxn ang="T169">
                      <a:pos x="T110" y="T111"/>
                    </a:cxn>
                    <a:cxn ang="T170">
                      <a:pos x="T112" y="T113"/>
                    </a:cxn>
                  </a:cxnLst>
                  <a:rect l="T171" t="T172" r="T173" b="T174"/>
                  <a:pathLst>
                    <a:path w="1594" h="1825">
                      <a:moveTo>
                        <a:pt x="297" y="154"/>
                      </a:moveTo>
                      <a:cubicBezTo>
                        <a:pt x="283" y="156"/>
                        <a:pt x="265" y="159"/>
                        <a:pt x="255" y="157"/>
                      </a:cubicBezTo>
                      <a:cubicBezTo>
                        <a:pt x="245" y="155"/>
                        <a:pt x="242" y="141"/>
                        <a:pt x="237" y="142"/>
                      </a:cubicBezTo>
                      <a:cubicBezTo>
                        <a:pt x="232" y="143"/>
                        <a:pt x="224" y="155"/>
                        <a:pt x="222" y="163"/>
                      </a:cubicBezTo>
                      <a:cubicBezTo>
                        <a:pt x="220" y="171"/>
                        <a:pt x="227" y="185"/>
                        <a:pt x="225" y="193"/>
                      </a:cubicBezTo>
                      <a:cubicBezTo>
                        <a:pt x="223" y="201"/>
                        <a:pt x="216" y="208"/>
                        <a:pt x="210" y="214"/>
                      </a:cubicBezTo>
                      <a:cubicBezTo>
                        <a:pt x="204" y="220"/>
                        <a:pt x="196" y="223"/>
                        <a:pt x="189" y="229"/>
                      </a:cubicBezTo>
                      <a:cubicBezTo>
                        <a:pt x="182" y="235"/>
                        <a:pt x="171" y="243"/>
                        <a:pt x="168" y="250"/>
                      </a:cubicBezTo>
                      <a:cubicBezTo>
                        <a:pt x="165" y="257"/>
                        <a:pt x="168" y="265"/>
                        <a:pt x="171" y="274"/>
                      </a:cubicBezTo>
                      <a:cubicBezTo>
                        <a:pt x="174" y="283"/>
                        <a:pt x="183" y="297"/>
                        <a:pt x="186" y="307"/>
                      </a:cubicBezTo>
                      <a:cubicBezTo>
                        <a:pt x="189" y="317"/>
                        <a:pt x="185" y="325"/>
                        <a:pt x="186" y="334"/>
                      </a:cubicBezTo>
                      <a:cubicBezTo>
                        <a:pt x="187" y="343"/>
                        <a:pt x="196" y="354"/>
                        <a:pt x="192" y="361"/>
                      </a:cubicBezTo>
                      <a:cubicBezTo>
                        <a:pt x="188" y="368"/>
                        <a:pt x="170" y="368"/>
                        <a:pt x="159" y="376"/>
                      </a:cubicBezTo>
                      <a:cubicBezTo>
                        <a:pt x="148" y="384"/>
                        <a:pt x="133" y="396"/>
                        <a:pt x="126" y="412"/>
                      </a:cubicBezTo>
                      <a:cubicBezTo>
                        <a:pt x="119" y="428"/>
                        <a:pt x="117" y="454"/>
                        <a:pt x="114" y="472"/>
                      </a:cubicBezTo>
                      <a:cubicBezTo>
                        <a:pt x="111" y="490"/>
                        <a:pt x="112" y="504"/>
                        <a:pt x="108" y="523"/>
                      </a:cubicBezTo>
                      <a:cubicBezTo>
                        <a:pt x="104" y="542"/>
                        <a:pt x="95" y="562"/>
                        <a:pt x="90" y="586"/>
                      </a:cubicBezTo>
                      <a:cubicBezTo>
                        <a:pt x="85" y="610"/>
                        <a:pt x="81" y="646"/>
                        <a:pt x="75" y="664"/>
                      </a:cubicBezTo>
                      <a:cubicBezTo>
                        <a:pt x="69" y="682"/>
                        <a:pt x="55" y="683"/>
                        <a:pt x="51" y="694"/>
                      </a:cubicBezTo>
                      <a:cubicBezTo>
                        <a:pt x="47" y="705"/>
                        <a:pt x="53" y="722"/>
                        <a:pt x="51" y="733"/>
                      </a:cubicBezTo>
                      <a:cubicBezTo>
                        <a:pt x="49" y="744"/>
                        <a:pt x="44" y="748"/>
                        <a:pt x="39" y="760"/>
                      </a:cubicBezTo>
                      <a:cubicBezTo>
                        <a:pt x="34" y="772"/>
                        <a:pt x="23" y="792"/>
                        <a:pt x="18" y="808"/>
                      </a:cubicBezTo>
                      <a:cubicBezTo>
                        <a:pt x="13" y="824"/>
                        <a:pt x="9" y="843"/>
                        <a:pt x="6" y="856"/>
                      </a:cubicBezTo>
                      <a:cubicBezTo>
                        <a:pt x="3" y="869"/>
                        <a:pt x="0" y="876"/>
                        <a:pt x="0" y="886"/>
                      </a:cubicBezTo>
                      <a:cubicBezTo>
                        <a:pt x="0" y="896"/>
                        <a:pt x="1" y="913"/>
                        <a:pt x="6" y="919"/>
                      </a:cubicBezTo>
                      <a:cubicBezTo>
                        <a:pt x="11" y="925"/>
                        <a:pt x="19" y="924"/>
                        <a:pt x="27" y="922"/>
                      </a:cubicBezTo>
                      <a:cubicBezTo>
                        <a:pt x="35" y="920"/>
                        <a:pt x="42" y="917"/>
                        <a:pt x="57" y="910"/>
                      </a:cubicBezTo>
                      <a:cubicBezTo>
                        <a:pt x="72" y="903"/>
                        <a:pt x="114" y="876"/>
                        <a:pt x="120" y="881"/>
                      </a:cubicBezTo>
                      <a:cubicBezTo>
                        <a:pt x="126" y="886"/>
                        <a:pt x="95" y="918"/>
                        <a:pt x="93" y="937"/>
                      </a:cubicBezTo>
                      <a:cubicBezTo>
                        <a:pt x="91" y="956"/>
                        <a:pt x="98" y="976"/>
                        <a:pt x="105" y="997"/>
                      </a:cubicBezTo>
                      <a:cubicBezTo>
                        <a:pt x="112" y="1018"/>
                        <a:pt x="135" y="1045"/>
                        <a:pt x="138" y="1066"/>
                      </a:cubicBezTo>
                      <a:cubicBezTo>
                        <a:pt x="141" y="1087"/>
                        <a:pt x="124" y="1109"/>
                        <a:pt x="123" y="1123"/>
                      </a:cubicBezTo>
                      <a:cubicBezTo>
                        <a:pt x="122" y="1137"/>
                        <a:pt x="118" y="1148"/>
                        <a:pt x="132" y="1153"/>
                      </a:cubicBezTo>
                      <a:cubicBezTo>
                        <a:pt x="146" y="1158"/>
                        <a:pt x="187" y="1149"/>
                        <a:pt x="207" y="1153"/>
                      </a:cubicBezTo>
                      <a:cubicBezTo>
                        <a:pt x="227" y="1157"/>
                        <a:pt x="242" y="1169"/>
                        <a:pt x="255" y="1180"/>
                      </a:cubicBezTo>
                      <a:cubicBezTo>
                        <a:pt x="268" y="1191"/>
                        <a:pt x="278" y="1207"/>
                        <a:pt x="285" y="1219"/>
                      </a:cubicBezTo>
                      <a:cubicBezTo>
                        <a:pt x="292" y="1231"/>
                        <a:pt x="291" y="1245"/>
                        <a:pt x="297" y="1255"/>
                      </a:cubicBezTo>
                      <a:cubicBezTo>
                        <a:pt x="303" y="1265"/>
                        <a:pt x="313" y="1280"/>
                        <a:pt x="321" y="1282"/>
                      </a:cubicBezTo>
                      <a:cubicBezTo>
                        <a:pt x="329" y="1284"/>
                        <a:pt x="335" y="1281"/>
                        <a:pt x="348" y="1270"/>
                      </a:cubicBezTo>
                      <a:cubicBezTo>
                        <a:pt x="361" y="1259"/>
                        <a:pt x="384" y="1232"/>
                        <a:pt x="399" y="1216"/>
                      </a:cubicBezTo>
                      <a:cubicBezTo>
                        <a:pt x="414" y="1200"/>
                        <a:pt x="427" y="1187"/>
                        <a:pt x="441" y="1174"/>
                      </a:cubicBezTo>
                      <a:cubicBezTo>
                        <a:pt x="455" y="1161"/>
                        <a:pt x="470" y="1145"/>
                        <a:pt x="483" y="1135"/>
                      </a:cubicBezTo>
                      <a:cubicBezTo>
                        <a:pt x="496" y="1125"/>
                        <a:pt x="511" y="1106"/>
                        <a:pt x="519" y="1111"/>
                      </a:cubicBezTo>
                      <a:cubicBezTo>
                        <a:pt x="527" y="1116"/>
                        <a:pt x="526" y="1149"/>
                        <a:pt x="531" y="1165"/>
                      </a:cubicBezTo>
                      <a:cubicBezTo>
                        <a:pt x="536" y="1181"/>
                        <a:pt x="545" y="1190"/>
                        <a:pt x="552" y="1210"/>
                      </a:cubicBezTo>
                      <a:cubicBezTo>
                        <a:pt x="559" y="1230"/>
                        <a:pt x="565" y="1270"/>
                        <a:pt x="576" y="1288"/>
                      </a:cubicBezTo>
                      <a:cubicBezTo>
                        <a:pt x="587" y="1306"/>
                        <a:pt x="607" y="1306"/>
                        <a:pt x="615" y="1318"/>
                      </a:cubicBezTo>
                      <a:cubicBezTo>
                        <a:pt x="623" y="1330"/>
                        <a:pt x="618" y="1347"/>
                        <a:pt x="621" y="1357"/>
                      </a:cubicBezTo>
                      <a:cubicBezTo>
                        <a:pt x="624" y="1367"/>
                        <a:pt x="634" y="1367"/>
                        <a:pt x="636" y="1378"/>
                      </a:cubicBezTo>
                      <a:cubicBezTo>
                        <a:pt x="638" y="1389"/>
                        <a:pt x="631" y="1414"/>
                        <a:pt x="633" y="1426"/>
                      </a:cubicBezTo>
                      <a:cubicBezTo>
                        <a:pt x="635" y="1438"/>
                        <a:pt x="645" y="1440"/>
                        <a:pt x="648" y="1450"/>
                      </a:cubicBezTo>
                      <a:cubicBezTo>
                        <a:pt x="651" y="1460"/>
                        <a:pt x="656" y="1484"/>
                        <a:pt x="654" y="1489"/>
                      </a:cubicBezTo>
                      <a:cubicBezTo>
                        <a:pt x="652" y="1494"/>
                        <a:pt x="646" y="1483"/>
                        <a:pt x="636" y="1483"/>
                      </a:cubicBezTo>
                      <a:cubicBezTo>
                        <a:pt x="626" y="1483"/>
                        <a:pt x="600" y="1486"/>
                        <a:pt x="591" y="1492"/>
                      </a:cubicBezTo>
                      <a:cubicBezTo>
                        <a:pt x="582" y="1498"/>
                        <a:pt x="583" y="1514"/>
                        <a:pt x="579" y="1522"/>
                      </a:cubicBezTo>
                      <a:cubicBezTo>
                        <a:pt x="575" y="1530"/>
                        <a:pt x="575" y="1532"/>
                        <a:pt x="567" y="1543"/>
                      </a:cubicBezTo>
                      <a:cubicBezTo>
                        <a:pt x="559" y="1554"/>
                        <a:pt x="541" y="1569"/>
                        <a:pt x="534" y="1585"/>
                      </a:cubicBezTo>
                      <a:cubicBezTo>
                        <a:pt x="527" y="1601"/>
                        <a:pt x="526" y="1625"/>
                        <a:pt x="525" y="1639"/>
                      </a:cubicBezTo>
                      <a:cubicBezTo>
                        <a:pt x="524" y="1653"/>
                        <a:pt x="526" y="1660"/>
                        <a:pt x="528" y="1669"/>
                      </a:cubicBezTo>
                      <a:cubicBezTo>
                        <a:pt x="530" y="1678"/>
                        <a:pt x="534" y="1688"/>
                        <a:pt x="540" y="1696"/>
                      </a:cubicBezTo>
                      <a:cubicBezTo>
                        <a:pt x="546" y="1704"/>
                        <a:pt x="555" y="1709"/>
                        <a:pt x="564" y="1720"/>
                      </a:cubicBezTo>
                      <a:cubicBezTo>
                        <a:pt x="573" y="1731"/>
                        <a:pt x="577" y="1748"/>
                        <a:pt x="591" y="1759"/>
                      </a:cubicBezTo>
                      <a:cubicBezTo>
                        <a:pt x="605" y="1770"/>
                        <a:pt x="634" y="1783"/>
                        <a:pt x="651" y="1789"/>
                      </a:cubicBezTo>
                      <a:cubicBezTo>
                        <a:pt x="668" y="1795"/>
                        <a:pt x="681" y="1797"/>
                        <a:pt x="693" y="1798"/>
                      </a:cubicBezTo>
                      <a:cubicBezTo>
                        <a:pt x="705" y="1799"/>
                        <a:pt x="712" y="1799"/>
                        <a:pt x="726" y="1798"/>
                      </a:cubicBezTo>
                      <a:cubicBezTo>
                        <a:pt x="740" y="1797"/>
                        <a:pt x="761" y="1801"/>
                        <a:pt x="780" y="1792"/>
                      </a:cubicBezTo>
                      <a:cubicBezTo>
                        <a:pt x="799" y="1783"/>
                        <a:pt x="824" y="1756"/>
                        <a:pt x="843" y="1741"/>
                      </a:cubicBezTo>
                      <a:cubicBezTo>
                        <a:pt x="862" y="1726"/>
                        <a:pt x="875" y="1706"/>
                        <a:pt x="896" y="1699"/>
                      </a:cubicBezTo>
                      <a:cubicBezTo>
                        <a:pt x="917" y="1692"/>
                        <a:pt x="935" y="1697"/>
                        <a:pt x="968" y="1699"/>
                      </a:cubicBezTo>
                      <a:cubicBezTo>
                        <a:pt x="1001" y="1701"/>
                        <a:pt x="1066" y="1704"/>
                        <a:pt x="1094" y="1708"/>
                      </a:cubicBezTo>
                      <a:cubicBezTo>
                        <a:pt x="1122" y="1712"/>
                        <a:pt x="1128" y="1721"/>
                        <a:pt x="1139" y="1723"/>
                      </a:cubicBezTo>
                      <a:cubicBezTo>
                        <a:pt x="1150" y="1725"/>
                        <a:pt x="1150" y="1719"/>
                        <a:pt x="1163" y="1719"/>
                      </a:cubicBezTo>
                      <a:cubicBezTo>
                        <a:pt x="1176" y="1719"/>
                        <a:pt x="1198" y="1719"/>
                        <a:pt x="1217" y="1726"/>
                      </a:cubicBezTo>
                      <a:cubicBezTo>
                        <a:pt x="1236" y="1733"/>
                        <a:pt x="1266" y="1752"/>
                        <a:pt x="1277" y="1762"/>
                      </a:cubicBezTo>
                      <a:cubicBezTo>
                        <a:pt x="1288" y="1772"/>
                        <a:pt x="1284" y="1779"/>
                        <a:pt x="1286" y="1789"/>
                      </a:cubicBezTo>
                      <a:cubicBezTo>
                        <a:pt x="1288" y="1799"/>
                        <a:pt x="1284" y="1819"/>
                        <a:pt x="1289" y="1822"/>
                      </a:cubicBezTo>
                      <a:cubicBezTo>
                        <a:pt x="1294" y="1825"/>
                        <a:pt x="1311" y="1813"/>
                        <a:pt x="1319" y="1810"/>
                      </a:cubicBezTo>
                      <a:cubicBezTo>
                        <a:pt x="1327" y="1807"/>
                        <a:pt x="1328" y="1810"/>
                        <a:pt x="1337" y="1804"/>
                      </a:cubicBezTo>
                      <a:cubicBezTo>
                        <a:pt x="1346" y="1798"/>
                        <a:pt x="1362" y="1781"/>
                        <a:pt x="1376" y="1774"/>
                      </a:cubicBezTo>
                      <a:cubicBezTo>
                        <a:pt x="1390" y="1767"/>
                        <a:pt x="1412" y="1761"/>
                        <a:pt x="1424" y="1759"/>
                      </a:cubicBezTo>
                      <a:cubicBezTo>
                        <a:pt x="1436" y="1757"/>
                        <a:pt x="1441" y="1763"/>
                        <a:pt x="1448" y="1765"/>
                      </a:cubicBezTo>
                      <a:cubicBezTo>
                        <a:pt x="1455" y="1767"/>
                        <a:pt x="1464" y="1777"/>
                        <a:pt x="1466" y="1774"/>
                      </a:cubicBezTo>
                      <a:cubicBezTo>
                        <a:pt x="1468" y="1771"/>
                        <a:pt x="1461" y="1756"/>
                        <a:pt x="1460" y="1747"/>
                      </a:cubicBezTo>
                      <a:cubicBezTo>
                        <a:pt x="1459" y="1738"/>
                        <a:pt x="1459" y="1732"/>
                        <a:pt x="1457" y="1720"/>
                      </a:cubicBezTo>
                      <a:cubicBezTo>
                        <a:pt x="1455" y="1708"/>
                        <a:pt x="1447" y="1691"/>
                        <a:pt x="1445" y="1675"/>
                      </a:cubicBezTo>
                      <a:cubicBezTo>
                        <a:pt x="1443" y="1659"/>
                        <a:pt x="1444" y="1637"/>
                        <a:pt x="1445" y="1621"/>
                      </a:cubicBezTo>
                      <a:cubicBezTo>
                        <a:pt x="1446" y="1605"/>
                        <a:pt x="1454" y="1589"/>
                        <a:pt x="1454" y="1576"/>
                      </a:cubicBezTo>
                      <a:cubicBezTo>
                        <a:pt x="1454" y="1563"/>
                        <a:pt x="1448" y="1561"/>
                        <a:pt x="1446" y="1543"/>
                      </a:cubicBezTo>
                      <a:cubicBezTo>
                        <a:pt x="1444" y="1525"/>
                        <a:pt x="1447" y="1492"/>
                        <a:pt x="1442" y="1468"/>
                      </a:cubicBezTo>
                      <a:cubicBezTo>
                        <a:pt x="1437" y="1444"/>
                        <a:pt x="1416" y="1418"/>
                        <a:pt x="1413" y="1397"/>
                      </a:cubicBezTo>
                      <a:cubicBezTo>
                        <a:pt x="1410" y="1376"/>
                        <a:pt x="1421" y="1354"/>
                        <a:pt x="1421" y="1339"/>
                      </a:cubicBezTo>
                      <a:cubicBezTo>
                        <a:pt x="1421" y="1324"/>
                        <a:pt x="1421" y="1309"/>
                        <a:pt x="1412" y="1306"/>
                      </a:cubicBezTo>
                      <a:cubicBezTo>
                        <a:pt x="1403" y="1303"/>
                        <a:pt x="1387" y="1313"/>
                        <a:pt x="1364" y="1321"/>
                      </a:cubicBezTo>
                      <a:cubicBezTo>
                        <a:pt x="1341" y="1329"/>
                        <a:pt x="1297" y="1343"/>
                        <a:pt x="1271" y="1354"/>
                      </a:cubicBezTo>
                      <a:cubicBezTo>
                        <a:pt x="1245" y="1365"/>
                        <a:pt x="1223" y="1377"/>
                        <a:pt x="1205" y="1387"/>
                      </a:cubicBezTo>
                      <a:cubicBezTo>
                        <a:pt x="1187" y="1397"/>
                        <a:pt x="1179" y="1407"/>
                        <a:pt x="1163" y="1414"/>
                      </a:cubicBezTo>
                      <a:cubicBezTo>
                        <a:pt x="1147" y="1421"/>
                        <a:pt x="1125" y="1437"/>
                        <a:pt x="1112" y="1432"/>
                      </a:cubicBezTo>
                      <a:cubicBezTo>
                        <a:pt x="1099" y="1427"/>
                        <a:pt x="1089" y="1396"/>
                        <a:pt x="1085" y="1381"/>
                      </a:cubicBezTo>
                      <a:cubicBezTo>
                        <a:pt x="1081" y="1366"/>
                        <a:pt x="1082" y="1351"/>
                        <a:pt x="1085" y="1339"/>
                      </a:cubicBezTo>
                      <a:cubicBezTo>
                        <a:pt x="1088" y="1327"/>
                        <a:pt x="1100" y="1316"/>
                        <a:pt x="1104" y="1308"/>
                      </a:cubicBezTo>
                      <a:cubicBezTo>
                        <a:pt x="1108" y="1300"/>
                        <a:pt x="1111" y="1297"/>
                        <a:pt x="1112" y="1291"/>
                      </a:cubicBezTo>
                      <a:cubicBezTo>
                        <a:pt x="1113" y="1285"/>
                        <a:pt x="1111" y="1283"/>
                        <a:pt x="1109" y="1273"/>
                      </a:cubicBezTo>
                      <a:cubicBezTo>
                        <a:pt x="1107" y="1263"/>
                        <a:pt x="1101" y="1242"/>
                        <a:pt x="1097" y="1228"/>
                      </a:cubicBezTo>
                      <a:cubicBezTo>
                        <a:pt x="1093" y="1214"/>
                        <a:pt x="1080" y="1201"/>
                        <a:pt x="1085" y="1186"/>
                      </a:cubicBezTo>
                      <a:cubicBezTo>
                        <a:pt x="1090" y="1171"/>
                        <a:pt x="1113" y="1153"/>
                        <a:pt x="1127" y="1140"/>
                      </a:cubicBezTo>
                      <a:cubicBezTo>
                        <a:pt x="1141" y="1127"/>
                        <a:pt x="1159" y="1118"/>
                        <a:pt x="1169" y="1105"/>
                      </a:cubicBezTo>
                      <a:cubicBezTo>
                        <a:pt x="1179" y="1092"/>
                        <a:pt x="1177" y="1075"/>
                        <a:pt x="1187" y="1063"/>
                      </a:cubicBezTo>
                      <a:cubicBezTo>
                        <a:pt x="1197" y="1051"/>
                        <a:pt x="1214" y="1037"/>
                        <a:pt x="1226" y="1036"/>
                      </a:cubicBezTo>
                      <a:cubicBezTo>
                        <a:pt x="1238" y="1035"/>
                        <a:pt x="1251" y="1052"/>
                        <a:pt x="1262" y="1054"/>
                      </a:cubicBezTo>
                      <a:cubicBezTo>
                        <a:pt x="1273" y="1056"/>
                        <a:pt x="1283" y="1052"/>
                        <a:pt x="1295" y="1048"/>
                      </a:cubicBezTo>
                      <a:cubicBezTo>
                        <a:pt x="1307" y="1044"/>
                        <a:pt x="1331" y="1039"/>
                        <a:pt x="1337" y="1027"/>
                      </a:cubicBezTo>
                      <a:cubicBezTo>
                        <a:pt x="1343" y="1015"/>
                        <a:pt x="1328" y="985"/>
                        <a:pt x="1334" y="974"/>
                      </a:cubicBezTo>
                      <a:cubicBezTo>
                        <a:pt x="1340" y="963"/>
                        <a:pt x="1361" y="964"/>
                        <a:pt x="1376" y="958"/>
                      </a:cubicBezTo>
                      <a:cubicBezTo>
                        <a:pt x="1391" y="952"/>
                        <a:pt x="1414" y="945"/>
                        <a:pt x="1428" y="938"/>
                      </a:cubicBezTo>
                      <a:cubicBezTo>
                        <a:pt x="1442" y="931"/>
                        <a:pt x="1452" y="921"/>
                        <a:pt x="1461" y="913"/>
                      </a:cubicBezTo>
                      <a:cubicBezTo>
                        <a:pt x="1471" y="904"/>
                        <a:pt x="1477" y="894"/>
                        <a:pt x="1487" y="884"/>
                      </a:cubicBezTo>
                      <a:cubicBezTo>
                        <a:pt x="1497" y="874"/>
                        <a:pt x="1522" y="870"/>
                        <a:pt x="1523" y="853"/>
                      </a:cubicBezTo>
                      <a:cubicBezTo>
                        <a:pt x="1524" y="836"/>
                        <a:pt x="1513" y="781"/>
                        <a:pt x="1495" y="780"/>
                      </a:cubicBezTo>
                      <a:cubicBezTo>
                        <a:pt x="1477" y="779"/>
                        <a:pt x="1443" y="827"/>
                        <a:pt x="1413" y="844"/>
                      </a:cubicBezTo>
                      <a:cubicBezTo>
                        <a:pt x="1383" y="861"/>
                        <a:pt x="1353" y="885"/>
                        <a:pt x="1316" y="884"/>
                      </a:cubicBezTo>
                      <a:cubicBezTo>
                        <a:pt x="1279" y="884"/>
                        <a:pt x="1200" y="864"/>
                        <a:pt x="1194" y="839"/>
                      </a:cubicBezTo>
                      <a:cubicBezTo>
                        <a:pt x="1187" y="813"/>
                        <a:pt x="1255" y="758"/>
                        <a:pt x="1275" y="731"/>
                      </a:cubicBezTo>
                      <a:cubicBezTo>
                        <a:pt x="1296" y="705"/>
                        <a:pt x="1296" y="688"/>
                        <a:pt x="1316" y="680"/>
                      </a:cubicBezTo>
                      <a:cubicBezTo>
                        <a:pt x="1336" y="673"/>
                        <a:pt x="1379" y="690"/>
                        <a:pt x="1392" y="686"/>
                      </a:cubicBezTo>
                      <a:cubicBezTo>
                        <a:pt x="1404" y="683"/>
                        <a:pt x="1390" y="664"/>
                        <a:pt x="1395" y="657"/>
                      </a:cubicBezTo>
                      <a:cubicBezTo>
                        <a:pt x="1400" y="651"/>
                        <a:pt x="1415" y="651"/>
                        <a:pt x="1421" y="645"/>
                      </a:cubicBezTo>
                      <a:cubicBezTo>
                        <a:pt x="1426" y="638"/>
                        <a:pt x="1427" y="628"/>
                        <a:pt x="1427" y="619"/>
                      </a:cubicBezTo>
                      <a:cubicBezTo>
                        <a:pt x="1427" y="610"/>
                        <a:pt x="1414" y="599"/>
                        <a:pt x="1418" y="589"/>
                      </a:cubicBezTo>
                      <a:cubicBezTo>
                        <a:pt x="1422" y="578"/>
                        <a:pt x="1436" y="573"/>
                        <a:pt x="1455" y="555"/>
                      </a:cubicBezTo>
                      <a:cubicBezTo>
                        <a:pt x="1475" y="537"/>
                        <a:pt x="1513" y="496"/>
                        <a:pt x="1535" y="482"/>
                      </a:cubicBezTo>
                      <a:cubicBezTo>
                        <a:pt x="1557" y="469"/>
                        <a:pt x="1579" y="480"/>
                        <a:pt x="1586" y="473"/>
                      </a:cubicBezTo>
                      <a:cubicBezTo>
                        <a:pt x="1594" y="466"/>
                        <a:pt x="1589" y="458"/>
                        <a:pt x="1581" y="441"/>
                      </a:cubicBezTo>
                      <a:cubicBezTo>
                        <a:pt x="1574" y="424"/>
                        <a:pt x="1556" y="387"/>
                        <a:pt x="1540" y="369"/>
                      </a:cubicBezTo>
                      <a:cubicBezTo>
                        <a:pt x="1525" y="351"/>
                        <a:pt x="1508" y="349"/>
                        <a:pt x="1491" y="333"/>
                      </a:cubicBezTo>
                      <a:cubicBezTo>
                        <a:pt x="1474" y="316"/>
                        <a:pt x="1455" y="292"/>
                        <a:pt x="1438" y="272"/>
                      </a:cubicBezTo>
                      <a:cubicBezTo>
                        <a:pt x="1422" y="253"/>
                        <a:pt x="1408" y="225"/>
                        <a:pt x="1395" y="214"/>
                      </a:cubicBezTo>
                      <a:cubicBezTo>
                        <a:pt x="1382" y="203"/>
                        <a:pt x="1378" y="210"/>
                        <a:pt x="1362" y="206"/>
                      </a:cubicBezTo>
                      <a:cubicBezTo>
                        <a:pt x="1346" y="202"/>
                        <a:pt x="1314" y="195"/>
                        <a:pt x="1296" y="189"/>
                      </a:cubicBezTo>
                      <a:cubicBezTo>
                        <a:pt x="1279" y="183"/>
                        <a:pt x="1273" y="173"/>
                        <a:pt x="1255" y="169"/>
                      </a:cubicBezTo>
                      <a:cubicBezTo>
                        <a:pt x="1237" y="166"/>
                        <a:pt x="1212" y="162"/>
                        <a:pt x="1188" y="170"/>
                      </a:cubicBezTo>
                      <a:cubicBezTo>
                        <a:pt x="1165" y="178"/>
                        <a:pt x="1132" y="205"/>
                        <a:pt x="1111" y="218"/>
                      </a:cubicBezTo>
                      <a:cubicBezTo>
                        <a:pt x="1090" y="230"/>
                        <a:pt x="1075" y="238"/>
                        <a:pt x="1061" y="247"/>
                      </a:cubicBezTo>
                      <a:cubicBezTo>
                        <a:pt x="1046" y="255"/>
                        <a:pt x="1045" y="267"/>
                        <a:pt x="1025" y="267"/>
                      </a:cubicBezTo>
                      <a:cubicBezTo>
                        <a:pt x="1006" y="267"/>
                        <a:pt x="964" y="253"/>
                        <a:pt x="944" y="247"/>
                      </a:cubicBezTo>
                      <a:cubicBezTo>
                        <a:pt x="923" y="241"/>
                        <a:pt x="916" y="234"/>
                        <a:pt x="901" y="233"/>
                      </a:cubicBezTo>
                      <a:cubicBezTo>
                        <a:pt x="886" y="232"/>
                        <a:pt x="862" y="245"/>
                        <a:pt x="852" y="242"/>
                      </a:cubicBezTo>
                      <a:cubicBezTo>
                        <a:pt x="842" y="238"/>
                        <a:pt x="832" y="221"/>
                        <a:pt x="837" y="214"/>
                      </a:cubicBezTo>
                      <a:cubicBezTo>
                        <a:pt x="842" y="208"/>
                        <a:pt x="872" y="203"/>
                        <a:pt x="885" y="202"/>
                      </a:cubicBezTo>
                      <a:cubicBezTo>
                        <a:pt x="898" y="200"/>
                        <a:pt x="905" y="216"/>
                        <a:pt x="914" y="205"/>
                      </a:cubicBezTo>
                      <a:cubicBezTo>
                        <a:pt x="922" y="194"/>
                        <a:pt x="927" y="151"/>
                        <a:pt x="933" y="134"/>
                      </a:cubicBezTo>
                      <a:cubicBezTo>
                        <a:pt x="939" y="117"/>
                        <a:pt x="948" y="115"/>
                        <a:pt x="949" y="104"/>
                      </a:cubicBezTo>
                      <a:cubicBezTo>
                        <a:pt x="950" y="93"/>
                        <a:pt x="946" y="79"/>
                        <a:pt x="939" y="70"/>
                      </a:cubicBezTo>
                      <a:cubicBezTo>
                        <a:pt x="932" y="61"/>
                        <a:pt x="918" y="56"/>
                        <a:pt x="909" y="52"/>
                      </a:cubicBezTo>
                      <a:cubicBezTo>
                        <a:pt x="900" y="48"/>
                        <a:pt x="894" y="45"/>
                        <a:pt x="885" y="43"/>
                      </a:cubicBezTo>
                      <a:cubicBezTo>
                        <a:pt x="876" y="41"/>
                        <a:pt x="866" y="37"/>
                        <a:pt x="852" y="37"/>
                      </a:cubicBezTo>
                      <a:cubicBezTo>
                        <a:pt x="838" y="37"/>
                        <a:pt x="813" y="43"/>
                        <a:pt x="798" y="43"/>
                      </a:cubicBezTo>
                      <a:cubicBezTo>
                        <a:pt x="783" y="43"/>
                        <a:pt x="774" y="40"/>
                        <a:pt x="762" y="37"/>
                      </a:cubicBezTo>
                      <a:cubicBezTo>
                        <a:pt x="750" y="34"/>
                        <a:pt x="739" y="24"/>
                        <a:pt x="726" y="22"/>
                      </a:cubicBezTo>
                      <a:cubicBezTo>
                        <a:pt x="713" y="20"/>
                        <a:pt x="695" y="22"/>
                        <a:pt x="681" y="22"/>
                      </a:cubicBezTo>
                      <a:cubicBezTo>
                        <a:pt x="667" y="22"/>
                        <a:pt x="654" y="22"/>
                        <a:pt x="642" y="19"/>
                      </a:cubicBezTo>
                      <a:cubicBezTo>
                        <a:pt x="630" y="16"/>
                        <a:pt x="617" y="0"/>
                        <a:pt x="606" y="1"/>
                      </a:cubicBezTo>
                      <a:cubicBezTo>
                        <a:pt x="595" y="2"/>
                        <a:pt x="584" y="21"/>
                        <a:pt x="573" y="28"/>
                      </a:cubicBezTo>
                      <a:cubicBezTo>
                        <a:pt x="562" y="35"/>
                        <a:pt x="549" y="40"/>
                        <a:pt x="540" y="46"/>
                      </a:cubicBezTo>
                      <a:cubicBezTo>
                        <a:pt x="531" y="52"/>
                        <a:pt x="523" y="56"/>
                        <a:pt x="516" y="64"/>
                      </a:cubicBezTo>
                      <a:cubicBezTo>
                        <a:pt x="509" y="72"/>
                        <a:pt x="503" y="83"/>
                        <a:pt x="495" y="94"/>
                      </a:cubicBezTo>
                      <a:cubicBezTo>
                        <a:pt x="487" y="105"/>
                        <a:pt x="477" y="124"/>
                        <a:pt x="465" y="130"/>
                      </a:cubicBezTo>
                      <a:cubicBezTo>
                        <a:pt x="453" y="136"/>
                        <a:pt x="438" y="128"/>
                        <a:pt x="426" y="130"/>
                      </a:cubicBezTo>
                      <a:cubicBezTo>
                        <a:pt x="414" y="132"/>
                        <a:pt x="403" y="140"/>
                        <a:pt x="393" y="142"/>
                      </a:cubicBezTo>
                      <a:cubicBezTo>
                        <a:pt x="383" y="144"/>
                        <a:pt x="373" y="144"/>
                        <a:pt x="363" y="145"/>
                      </a:cubicBezTo>
                      <a:cubicBezTo>
                        <a:pt x="353" y="146"/>
                        <a:pt x="344" y="150"/>
                        <a:pt x="333" y="151"/>
                      </a:cubicBezTo>
                      <a:cubicBezTo>
                        <a:pt x="322" y="152"/>
                        <a:pt x="304" y="154"/>
                        <a:pt x="297" y="154"/>
                      </a:cubicBezTo>
                      <a:close/>
                    </a:path>
                  </a:pathLst>
                </a:custGeom>
                <a:solidFill>
                  <a:srgbClr val="FFCC99">
                    <a:alpha val="59999"/>
                  </a:srgbClr>
                </a:solidFill>
                <a:ln w="9525" cap="flat" cmpd="sng">
                  <a:solidFill>
                    <a:srgbClr val="FF9900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endParaRPr lang="ru-RU"/>
                </a:p>
              </p:txBody>
            </p:sp>
          </p:grpSp>
        </p:grpSp>
        <p:grpSp>
          <p:nvGrpSpPr>
            <p:cNvPr id="4118" name="Group 20"/>
            <p:cNvGrpSpPr>
              <a:grpSpLocks/>
            </p:cNvGrpSpPr>
            <p:nvPr/>
          </p:nvGrpSpPr>
          <p:grpSpPr bwMode="auto">
            <a:xfrm>
              <a:off x="3714" y="4057"/>
              <a:ext cx="4764" cy="7059"/>
              <a:chOff x="4477" y="4786"/>
              <a:chExt cx="4158" cy="6162"/>
            </a:xfrm>
          </p:grpSpPr>
          <p:sp>
            <p:nvSpPr>
              <p:cNvPr id="4119" name="WordArt 21"/>
              <p:cNvSpPr>
                <a:spLocks noChangeArrowheads="1" noChangeShapeType="1" noTextEdit="1"/>
              </p:cNvSpPr>
              <p:nvPr/>
            </p:nvSpPr>
            <p:spPr bwMode="auto">
              <a:xfrm>
                <a:off x="7469" y="4786"/>
                <a:ext cx="1086" cy="204"/>
              </a:xfrm>
              <a:prstGeom prst="rect">
                <a:avLst/>
              </a:prstGeom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fromWordArt="1">
                <a:prstTxWarp prst="textPlain">
                  <a:avLst>
                    <a:gd name="adj" fmla="val 50000"/>
                  </a:avLst>
                </a:prstTxWarp>
              </a:bodyPr>
              <a:lstStyle/>
              <a:p>
                <a:pPr algn="ctr"/>
                <a:r>
                  <a:rPr lang="ru-RU" sz="3600" b="1" kern="10">
                    <a:solidFill>
                      <a:srgbClr val="666699"/>
                    </a:solidFill>
                    <a:latin typeface="+mn-lt"/>
                    <a:ea typeface="+mn-lt"/>
                    <a:cs typeface="+mn-lt"/>
                  </a:rPr>
                  <a:t>Тернівський</a:t>
                </a:r>
              </a:p>
            </p:txBody>
          </p:sp>
          <p:sp>
            <p:nvSpPr>
              <p:cNvPr id="4120" name="WordArt 22"/>
              <p:cNvSpPr>
                <a:spLocks noChangeArrowheads="1" noChangeShapeType="1" noTextEdit="1"/>
              </p:cNvSpPr>
              <p:nvPr/>
            </p:nvSpPr>
            <p:spPr bwMode="auto">
              <a:xfrm>
                <a:off x="6644" y="6678"/>
                <a:ext cx="1082" cy="188"/>
              </a:xfrm>
              <a:prstGeom prst="rect">
                <a:avLst/>
              </a:prstGeom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fromWordArt="1">
                <a:prstTxWarp prst="textPlain">
                  <a:avLst>
                    <a:gd name="adj" fmla="val 50000"/>
                  </a:avLst>
                </a:prstTxWarp>
              </a:bodyPr>
              <a:lstStyle/>
              <a:p>
                <a:pPr algn="ctr"/>
                <a:r>
                  <a:rPr lang="ru-RU" sz="3600" b="1" kern="10">
                    <a:solidFill>
                      <a:srgbClr val="666699"/>
                    </a:solidFill>
                    <a:latin typeface="+mn-lt"/>
                    <a:ea typeface="+mn-lt"/>
                    <a:cs typeface="+mn-lt"/>
                  </a:rPr>
                  <a:t>Жовтневий</a:t>
                </a:r>
              </a:p>
            </p:txBody>
          </p:sp>
          <p:sp>
            <p:nvSpPr>
              <p:cNvPr id="4121" name="WordArt 23"/>
              <p:cNvSpPr>
                <a:spLocks noChangeArrowheads="1" noChangeShapeType="1" noTextEdit="1"/>
              </p:cNvSpPr>
              <p:nvPr/>
            </p:nvSpPr>
            <p:spPr bwMode="auto">
              <a:xfrm>
                <a:off x="6006" y="7976"/>
                <a:ext cx="1061" cy="188"/>
              </a:xfrm>
              <a:prstGeom prst="rect">
                <a:avLst/>
              </a:prstGeom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fromWordArt="1">
                <a:prstTxWarp prst="textPlain">
                  <a:avLst>
                    <a:gd name="adj" fmla="val 50000"/>
                  </a:avLst>
                </a:prstTxWarp>
              </a:bodyPr>
              <a:lstStyle/>
              <a:p>
                <a:pPr algn="ctr"/>
                <a:r>
                  <a:rPr lang="ru-RU" sz="3600" b="1" kern="10">
                    <a:solidFill>
                      <a:srgbClr val="008000"/>
                    </a:solidFill>
                    <a:latin typeface="+mn-lt"/>
                    <a:ea typeface="+mn-lt"/>
                    <a:cs typeface="+mn-lt"/>
                  </a:rPr>
                  <a:t>Саксаганський</a:t>
                </a:r>
              </a:p>
            </p:txBody>
          </p:sp>
          <p:sp>
            <p:nvSpPr>
              <p:cNvPr id="4122" name="WordArt 24"/>
              <p:cNvSpPr>
                <a:spLocks noChangeArrowheads="1" noChangeShapeType="1" noTextEdit="1"/>
              </p:cNvSpPr>
              <p:nvPr/>
            </p:nvSpPr>
            <p:spPr bwMode="auto">
              <a:xfrm>
                <a:off x="4477" y="9340"/>
                <a:ext cx="1199" cy="462"/>
              </a:xfrm>
              <a:prstGeom prst="rect">
                <a:avLst/>
              </a:prstGeom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fromWordArt="1">
                <a:prstTxWarp prst="textPlain">
                  <a:avLst>
                    <a:gd name="adj" fmla="val 50000"/>
                  </a:avLst>
                </a:prstTxWarp>
              </a:bodyPr>
              <a:lstStyle/>
              <a:p>
                <a:pPr algn="ctr"/>
                <a:r>
                  <a:rPr lang="ru-RU" sz="3600" b="1" kern="10">
                    <a:solidFill>
                      <a:srgbClr val="FF6600"/>
                    </a:solidFill>
                    <a:latin typeface="+mn-lt"/>
                    <a:ea typeface="+mn-lt"/>
                    <a:cs typeface="+mn-lt"/>
                  </a:rPr>
                  <a:t>Центрально-</a:t>
                </a:r>
              </a:p>
              <a:p>
                <a:pPr algn="ctr"/>
                <a:r>
                  <a:rPr lang="ru-RU" sz="3600" b="1" kern="10">
                    <a:solidFill>
                      <a:srgbClr val="FF6600"/>
                    </a:solidFill>
                    <a:latin typeface="+mn-lt"/>
                    <a:ea typeface="+mn-lt"/>
                    <a:cs typeface="+mn-lt"/>
                  </a:rPr>
                  <a:t>міський</a:t>
                </a:r>
              </a:p>
            </p:txBody>
          </p:sp>
          <p:sp>
            <p:nvSpPr>
              <p:cNvPr id="4123" name="WordArt 25"/>
              <p:cNvSpPr>
                <a:spLocks noChangeArrowheads="1" noChangeShapeType="1" noTextEdit="1"/>
              </p:cNvSpPr>
              <p:nvPr/>
            </p:nvSpPr>
            <p:spPr bwMode="auto">
              <a:xfrm>
                <a:off x="7370" y="9351"/>
                <a:ext cx="1265" cy="245"/>
              </a:xfrm>
              <a:prstGeom prst="rect">
                <a:avLst/>
              </a:prstGeom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fromWordArt="1">
                <a:prstTxWarp prst="textPlain">
                  <a:avLst>
                    <a:gd name="adj" fmla="val 50000"/>
                  </a:avLst>
                </a:prstTxWarp>
              </a:bodyPr>
              <a:lstStyle/>
              <a:p>
                <a:pPr algn="ctr"/>
                <a:r>
                  <a:rPr lang="ru-RU" sz="3600" b="1" kern="10">
                    <a:solidFill>
                      <a:srgbClr val="008000"/>
                    </a:solidFill>
                    <a:latin typeface="+mn-lt"/>
                    <a:ea typeface="+mn-lt"/>
                    <a:cs typeface="+mn-lt"/>
                  </a:rPr>
                  <a:t>Довгинцевський</a:t>
                </a:r>
              </a:p>
            </p:txBody>
          </p:sp>
          <p:sp>
            <p:nvSpPr>
              <p:cNvPr id="4124" name="WordArt 26"/>
              <p:cNvSpPr>
                <a:spLocks noChangeArrowheads="1" noChangeShapeType="1" noTextEdit="1"/>
              </p:cNvSpPr>
              <p:nvPr/>
            </p:nvSpPr>
            <p:spPr bwMode="auto">
              <a:xfrm>
                <a:off x="5929" y="9450"/>
                <a:ext cx="1169" cy="226"/>
              </a:xfrm>
              <a:prstGeom prst="rect">
                <a:avLst/>
              </a:prstGeom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fromWordArt="1">
                <a:prstTxWarp prst="textPlain">
                  <a:avLst>
                    <a:gd name="adj" fmla="val 50000"/>
                  </a:avLst>
                </a:prstTxWarp>
              </a:bodyPr>
              <a:lstStyle/>
              <a:p>
                <a:pPr algn="ctr"/>
                <a:r>
                  <a:rPr lang="ru-RU" sz="3600" b="1" kern="10">
                    <a:solidFill>
                      <a:srgbClr val="FF6600"/>
                    </a:solidFill>
                    <a:latin typeface="+mn-lt"/>
                    <a:ea typeface="+mn-lt"/>
                    <a:cs typeface="+mn-lt"/>
                  </a:rPr>
                  <a:t>Дзержинський</a:t>
                </a:r>
              </a:p>
            </p:txBody>
          </p:sp>
          <p:sp>
            <p:nvSpPr>
              <p:cNvPr id="4125" name="WordArt 27"/>
              <p:cNvSpPr>
                <a:spLocks noChangeArrowheads="1" noChangeShapeType="1" noTextEdit="1"/>
              </p:cNvSpPr>
              <p:nvPr/>
            </p:nvSpPr>
            <p:spPr bwMode="auto">
              <a:xfrm>
                <a:off x="4796" y="10726"/>
                <a:ext cx="1260" cy="222"/>
              </a:xfrm>
              <a:prstGeom prst="rect">
                <a:avLst/>
              </a:prstGeom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fromWordArt="1">
                <a:prstTxWarp prst="textPlain">
                  <a:avLst>
                    <a:gd name="adj" fmla="val 50000"/>
                  </a:avLst>
                </a:prstTxWarp>
              </a:bodyPr>
              <a:lstStyle/>
              <a:p>
                <a:pPr algn="ctr"/>
                <a:r>
                  <a:rPr lang="ru-RU" sz="3600" b="1" kern="10">
                    <a:solidFill>
                      <a:srgbClr val="FF6600"/>
                    </a:solidFill>
                    <a:latin typeface="+mn-lt"/>
                    <a:ea typeface="+mn-lt"/>
                    <a:cs typeface="+mn-lt"/>
                  </a:rPr>
                  <a:t>Інгулецький</a:t>
                </a:r>
              </a:p>
            </p:txBody>
          </p:sp>
        </p:grpSp>
      </p:grpSp>
      <p:sp>
        <p:nvSpPr>
          <p:cNvPr id="4100" name="WordArt 28"/>
          <p:cNvSpPr>
            <a:spLocks noChangeArrowheads="1" noChangeShapeType="1" noTextEdit="1"/>
          </p:cNvSpPr>
          <p:nvPr/>
        </p:nvSpPr>
        <p:spPr bwMode="auto">
          <a:xfrm>
            <a:off x="1600200" y="6172200"/>
            <a:ext cx="609600" cy="30480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ru-RU" sz="1000" kern="10">
                <a:ln w="9525">
                  <a:solidFill>
                    <a:srgbClr val="000000"/>
                  </a:solidFill>
                  <a:round/>
                  <a:headEnd/>
                  <a:tailEnd/>
                </a:ln>
                <a:solidFill>
                  <a:srgbClr val="000000"/>
                </a:solidFill>
                <a:latin typeface="+mn-lt"/>
                <a:ea typeface="+mn-lt"/>
                <a:cs typeface="+mn-lt"/>
              </a:rPr>
              <a:t>ЦПМСД №7</a:t>
            </a:r>
          </a:p>
          <a:p>
            <a:pPr algn="ctr"/>
            <a:r>
              <a:rPr lang="ru-RU" sz="1000" kern="10">
                <a:ln w="9525">
                  <a:solidFill>
                    <a:srgbClr val="000000"/>
                  </a:solidFill>
                  <a:round/>
                  <a:headEnd/>
                  <a:tailEnd/>
                </a:ln>
                <a:solidFill>
                  <a:srgbClr val="000000"/>
                </a:solidFill>
                <a:latin typeface="+mn-lt"/>
                <a:ea typeface="+mn-lt"/>
                <a:cs typeface="+mn-lt"/>
              </a:rPr>
              <a:t>(39 тис.)</a:t>
            </a:r>
          </a:p>
        </p:txBody>
      </p:sp>
      <p:sp>
        <p:nvSpPr>
          <p:cNvPr id="4101" name="AutoShape 29"/>
          <p:cNvSpPr>
            <a:spLocks noChangeArrowheads="1"/>
          </p:cNvSpPr>
          <p:nvPr/>
        </p:nvSpPr>
        <p:spPr bwMode="auto">
          <a:xfrm>
            <a:off x="1143000" y="6324600"/>
            <a:ext cx="180975" cy="180975"/>
          </a:xfrm>
          <a:prstGeom prst="rtTriangle">
            <a:avLst/>
          </a:prstGeom>
          <a:solidFill>
            <a:srgbClr val="FF00FF"/>
          </a:solidFill>
          <a:ln w="9525" algn="ctr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4102" name="WordArt 30"/>
          <p:cNvSpPr>
            <a:spLocks noChangeArrowheads="1" noChangeShapeType="1" noTextEdit="1"/>
          </p:cNvSpPr>
          <p:nvPr/>
        </p:nvSpPr>
        <p:spPr bwMode="auto">
          <a:xfrm>
            <a:off x="5334000" y="4191000"/>
            <a:ext cx="609600" cy="30480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ru-RU" sz="1000" kern="10">
                <a:ln w="9525">
                  <a:solidFill>
                    <a:srgbClr val="000000"/>
                  </a:solidFill>
                  <a:round/>
                  <a:headEnd/>
                  <a:tailEnd/>
                </a:ln>
                <a:solidFill>
                  <a:srgbClr val="000000"/>
                </a:solidFill>
                <a:latin typeface="+mn-lt"/>
                <a:ea typeface="+mn-lt"/>
                <a:cs typeface="+mn-lt"/>
              </a:rPr>
              <a:t>ЦПМСД №5</a:t>
            </a:r>
          </a:p>
          <a:p>
            <a:pPr algn="ctr"/>
            <a:r>
              <a:rPr lang="ru-RU" sz="1000" kern="10">
                <a:ln w="9525">
                  <a:solidFill>
                    <a:srgbClr val="000000"/>
                  </a:solidFill>
                  <a:round/>
                  <a:headEnd/>
                  <a:tailEnd/>
                </a:ln>
                <a:solidFill>
                  <a:srgbClr val="000000"/>
                </a:solidFill>
                <a:latin typeface="+mn-lt"/>
                <a:ea typeface="+mn-lt"/>
                <a:cs typeface="+mn-lt"/>
              </a:rPr>
              <a:t>(138 тис.)</a:t>
            </a:r>
          </a:p>
        </p:txBody>
      </p:sp>
      <p:sp>
        <p:nvSpPr>
          <p:cNvPr id="4103" name="AutoShape 31"/>
          <p:cNvSpPr>
            <a:spLocks noChangeArrowheads="1"/>
          </p:cNvSpPr>
          <p:nvPr/>
        </p:nvSpPr>
        <p:spPr bwMode="auto">
          <a:xfrm>
            <a:off x="5105400" y="4114800"/>
            <a:ext cx="182563" cy="180975"/>
          </a:xfrm>
          <a:prstGeom prst="rtTriangle">
            <a:avLst/>
          </a:prstGeom>
          <a:solidFill>
            <a:srgbClr val="666699"/>
          </a:solidFill>
          <a:ln w="9525" algn="ctr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4104" name="WordArt 32"/>
          <p:cNvSpPr>
            <a:spLocks noChangeArrowheads="1" noChangeShapeType="1" noTextEdit="1"/>
          </p:cNvSpPr>
          <p:nvPr/>
        </p:nvSpPr>
        <p:spPr bwMode="auto">
          <a:xfrm>
            <a:off x="3048000" y="3962400"/>
            <a:ext cx="685800" cy="328613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ru-RU" sz="1000" kern="10">
                <a:ln w="9525">
                  <a:solidFill>
                    <a:srgbClr val="000000"/>
                  </a:solidFill>
                  <a:round/>
                  <a:headEnd/>
                  <a:tailEnd/>
                </a:ln>
                <a:solidFill>
                  <a:srgbClr val="000000"/>
                </a:solidFill>
                <a:latin typeface="+mn-lt"/>
                <a:ea typeface="+mn-lt"/>
                <a:cs typeface="+mn-lt"/>
              </a:rPr>
              <a:t>ЦПМСД №6</a:t>
            </a:r>
          </a:p>
          <a:p>
            <a:pPr algn="ctr"/>
            <a:r>
              <a:rPr lang="ru-RU" sz="1000" kern="10">
                <a:ln w="9525">
                  <a:solidFill>
                    <a:srgbClr val="000000"/>
                  </a:solidFill>
                  <a:round/>
                  <a:headEnd/>
                  <a:tailEnd/>
                </a:ln>
                <a:solidFill>
                  <a:srgbClr val="000000"/>
                </a:solidFill>
                <a:latin typeface="+mn-lt"/>
                <a:ea typeface="+mn-lt"/>
                <a:cs typeface="+mn-lt"/>
              </a:rPr>
              <a:t>(108 тис.)</a:t>
            </a:r>
          </a:p>
        </p:txBody>
      </p:sp>
      <p:sp>
        <p:nvSpPr>
          <p:cNvPr id="4105" name="AutoShape 33"/>
          <p:cNvSpPr>
            <a:spLocks noChangeArrowheads="1"/>
          </p:cNvSpPr>
          <p:nvPr/>
        </p:nvSpPr>
        <p:spPr bwMode="auto">
          <a:xfrm>
            <a:off x="3810000" y="4038600"/>
            <a:ext cx="180975" cy="180975"/>
          </a:xfrm>
          <a:prstGeom prst="rtTriangle">
            <a:avLst/>
          </a:prstGeom>
          <a:solidFill>
            <a:srgbClr val="FF6600"/>
          </a:solidFill>
          <a:ln w="9525" algn="ctr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4106" name="WordArt 34"/>
          <p:cNvSpPr>
            <a:spLocks noChangeArrowheads="1" noChangeShapeType="1" noTextEdit="1"/>
          </p:cNvSpPr>
          <p:nvPr/>
        </p:nvSpPr>
        <p:spPr bwMode="auto">
          <a:xfrm>
            <a:off x="5105400" y="3124200"/>
            <a:ext cx="762000" cy="30480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ru-RU" sz="1000" kern="10">
                <a:ln w="9525">
                  <a:solidFill>
                    <a:srgbClr val="000000"/>
                  </a:solidFill>
                  <a:round/>
                  <a:headEnd/>
                  <a:tailEnd/>
                </a:ln>
                <a:solidFill>
                  <a:srgbClr val="000000"/>
                </a:solidFill>
                <a:latin typeface="+mn-lt"/>
                <a:ea typeface="+mn-lt"/>
                <a:cs typeface="+mn-lt"/>
              </a:rPr>
              <a:t>ЦПМСД №4</a:t>
            </a:r>
          </a:p>
          <a:p>
            <a:pPr algn="ctr"/>
            <a:r>
              <a:rPr lang="ru-RU" sz="1000" kern="10">
                <a:ln w="9525">
                  <a:solidFill>
                    <a:srgbClr val="000000"/>
                  </a:solidFill>
                  <a:round/>
                  <a:headEnd/>
                  <a:tailEnd/>
                </a:ln>
                <a:solidFill>
                  <a:srgbClr val="000000"/>
                </a:solidFill>
                <a:latin typeface="+mn-lt"/>
                <a:ea typeface="+mn-lt"/>
                <a:cs typeface="+mn-lt"/>
              </a:rPr>
              <a:t>(154 тис.)</a:t>
            </a:r>
          </a:p>
        </p:txBody>
      </p:sp>
      <p:sp>
        <p:nvSpPr>
          <p:cNvPr id="4107" name="AutoShape 35"/>
          <p:cNvSpPr>
            <a:spLocks noChangeArrowheads="1"/>
          </p:cNvSpPr>
          <p:nvPr/>
        </p:nvSpPr>
        <p:spPr bwMode="auto">
          <a:xfrm>
            <a:off x="4876800" y="3200400"/>
            <a:ext cx="182563" cy="180975"/>
          </a:xfrm>
          <a:prstGeom prst="rtTriangle">
            <a:avLst/>
          </a:prstGeom>
          <a:solidFill>
            <a:srgbClr val="00CCFF"/>
          </a:solidFill>
          <a:ln w="9525" algn="ctr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4108" name="WordArt 36"/>
          <p:cNvSpPr>
            <a:spLocks noChangeArrowheads="1" noChangeShapeType="1" noTextEdit="1"/>
          </p:cNvSpPr>
          <p:nvPr/>
        </p:nvSpPr>
        <p:spPr bwMode="auto">
          <a:xfrm>
            <a:off x="5943600" y="2590800"/>
            <a:ext cx="762000" cy="30480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ru-RU" sz="1000" kern="10">
                <a:ln w="9525">
                  <a:solidFill>
                    <a:srgbClr val="000000"/>
                  </a:solidFill>
                  <a:round/>
                  <a:headEnd/>
                  <a:tailEnd/>
                </a:ln>
                <a:solidFill>
                  <a:srgbClr val="000000"/>
                </a:solidFill>
                <a:latin typeface="+mn-lt"/>
                <a:ea typeface="+mn-lt"/>
                <a:cs typeface="+mn-lt"/>
              </a:rPr>
              <a:t>ЦПМСД №3</a:t>
            </a:r>
          </a:p>
          <a:p>
            <a:pPr algn="ctr"/>
            <a:r>
              <a:rPr lang="ru-RU" sz="1000" kern="10">
                <a:ln w="9525">
                  <a:solidFill>
                    <a:srgbClr val="000000"/>
                  </a:solidFill>
                  <a:round/>
                  <a:headEnd/>
                  <a:tailEnd/>
                </a:ln>
                <a:solidFill>
                  <a:srgbClr val="000000"/>
                </a:solidFill>
                <a:latin typeface="+mn-lt"/>
                <a:ea typeface="+mn-lt"/>
                <a:cs typeface="+mn-lt"/>
              </a:rPr>
              <a:t>(87 тис.)</a:t>
            </a:r>
          </a:p>
        </p:txBody>
      </p:sp>
      <p:sp>
        <p:nvSpPr>
          <p:cNvPr id="4109" name="AutoShape 37"/>
          <p:cNvSpPr>
            <a:spLocks noChangeArrowheads="1"/>
          </p:cNvSpPr>
          <p:nvPr/>
        </p:nvSpPr>
        <p:spPr bwMode="auto">
          <a:xfrm>
            <a:off x="5715000" y="2667000"/>
            <a:ext cx="180975" cy="182563"/>
          </a:xfrm>
          <a:prstGeom prst="rtTriangle">
            <a:avLst/>
          </a:prstGeom>
          <a:solidFill>
            <a:srgbClr val="FF0000"/>
          </a:solidFill>
          <a:ln w="9525" algn="ctr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4110" name="WordArt 38"/>
          <p:cNvSpPr>
            <a:spLocks noChangeArrowheads="1" noChangeShapeType="1" noTextEdit="1"/>
          </p:cNvSpPr>
          <p:nvPr/>
        </p:nvSpPr>
        <p:spPr bwMode="auto">
          <a:xfrm>
            <a:off x="6400800" y="2057400"/>
            <a:ext cx="762000" cy="30480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ru-RU" sz="1000" kern="10">
                <a:ln w="9525">
                  <a:solidFill>
                    <a:srgbClr val="000000"/>
                  </a:solidFill>
                  <a:round/>
                  <a:headEnd/>
                  <a:tailEnd/>
                </a:ln>
                <a:solidFill>
                  <a:srgbClr val="000000"/>
                </a:solidFill>
                <a:latin typeface="+mn-lt"/>
                <a:ea typeface="+mn-lt"/>
                <a:cs typeface="+mn-lt"/>
              </a:rPr>
              <a:t>ЦПМСД №2</a:t>
            </a:r>
          </a:p>
          <a:p>
            <a:pPr algn="ctr"/>
            <a:r>
              <a:rPr lang="ru-RU" sz="1000" kern="10">
                <a:ln w="9525">
                  <a:solidFill>
                    <a:srgbClr val="000000"/>
                  </a:solidFill>
                  <a:round/>
                  <a:headEnd/>
                  <a:tailEnd/>
                </a:ln>
                <a:solidFill>
                  <a:srgbClr val="000000"/>
                </a:solidFill>
                <a:latin typeface="+mn-lt"/>
                <a:ea typeface="+mn-lt"/>
                <a:cs typeface="+mn-lt"/>
              </a:rPr>
              <a:t>(86 тис.)</a:t>
            </a:r>
          </a:p>
        </p:txBody>
      </p:sp>
      <p:sp>
        <p:nvSpPr>
          <p:cNvPr id="4111" name="AutoShape 39"/>
          <p:cNvSpPr>
            <a:spLocks noChangeArrowheads="1"/>
          </p:cNvSpPr>
          <p:nvPr/>
        </p:nvSpPr>
        <p:spPr bwMode="auto">
          <a:xfrm>
            <a:off x="6248400" y="2133600"/>
            <a:ext cx="180975" cy="180975"/>
          </a:xfrm>
          <a:prstGeom prst="rtTriangle">
            <a:avLst/>
          </a:prstGeom>
          <a:solidFill>
            <a:srgbClr val="008000"/>
          </a:solidFill>
          <a:ln w="9525" algn="ctr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4112" name="WordArt 40"/>
          <p:cNvSpPr>
            <a:spLocks noChangeArrowheads="1" noChangeShapeType="1" noTextEdit="1"/>
          </p:cNvSpPr>
          <p:nvPr/>
        </p:nvSpPr>
        <p:spPr bwMode="auto">
          <a:xfrm>
            <a:off x="7696200" y="914400"/>
            <a:ext cx="762000" cy="30480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ru-RU" sz="1000" kern="10">
                <a:ln w="9525">
                  <a:solidFill>
                    <a:srgbClr val="000000"/>
                  </a:solidFill>
                  <a:round/>
                  <a:headEnd/>
                  <a:tailEnd/>
                </a:ln>
                <a:solidFill>
                  <a:srgbClr val="000000"/>
                </a:solidFill>
                <a:latin typeface="+mn-lt"/>
                <a:ea typeface="+mn-lt"/>
                <a:cs typeface="+mn-lt"/>
              </a:rPr>
              <a:t>ЦПМСД №1</a:t>
            </a:r>
          </a:p>
          <a:p>
            <a:pPr algn="ctr"/>
            <a:r>
              <a:rPr lang="ru-RU" sz="1000" kern="10">
                <a:ln w="9525">
                  <a:solidFill>
                    <a:srgbClr val="000000"/>
                  </a:solidFill>
                  <a:round/>
                  <a:headEnd/>
                  <a:tailEnd/>
                </a:ln>
                <a:solidFill>
                  <a:srgbClr val="000000"/>
                </a:solidFill>
                <a:latin typeface="+mn-lt"/>
                <a:ea typeface="+mn-lt"/>
                <a:cs typeface="+mn-lt"/>
              </a:rPr>
              <a:t>(46 тис.)</a:t>
            </a:r>
          </a:p>
        </p:txBody>
      </p:sp>
      <p:sp>
        <p:nvSpPr>
          <p:cNvPr id="4113" name="AutoShape 41"/>
          <p:cNvSpPr>
            <a:spLocks noChangeArrowheads="1"/>
          </p:cNvSpPr>
          <p:nvPr/>
        </p:nvSpPr>
        <p:spPr bwMode="auto">
          <a:xfrm>
            <a:off x="7543800" y="1143000"/>
            <a:ext cx="180975" cy="180975"/>
          </a:xfrm>
          <a:prstGeom prst="rtTriangle">
            <a:avLst/>
          </a:prstGeom>
          <a:solidFill>
            <a:srgbClr val="3366FF"/>
          </a:solidFill>
          <a:ln w="9525" algn="ctr">
            <a:solidFill>
              <a:srgbClr val="000000"/>
            </a:solidFill>
            <a:miter lim="800000"/>
            <a:headEnd/>
            <a:tailEnd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endParaRPr lang="ru-RU" altLang="ru-RU">
              <a:solidFill>
                <a:srgbClr val="000000"/>
              </a:solidFill>
            </a:endParaRPr>
          </a:p>
        </p:txBody>
      </p:sp>
      <p:pic>
        <p:nvPicPr>
          <p:cNvPr id="41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350" y="-242888"/>
            <a:ext cx="2881313" cy="20574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15" name="Picture 2" descr="C:\Users\Alisa-TML\Desktop\BrandBook_Krivoy_Rog_2013_09_10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7100" y="5322888"/>
            <a:ext cx="2760663" cy="1154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16" name="Rectangle 5"/>
          <p:cNvSpPr txBox="1">
            <a:spLocks noChangeArrowheads="1"/>
          </p:cNvSpPr>
          <p:nvPr/>
        </p:nvSpPr>
        <p:spPr bwMode="auto">
          <a:xfrm>
            <a:off x="177800" y="1774825"/>
            <a:ext cx="4102100" cy="178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/>
            <a:r>
              <a:rPr lang="uk-UA" altLang="ru-RU"/>
              <a:t>Враховуючи географічні особливості нашого міста, з метою забезпечення однакової відстані для кожного району, </a:t>
            </a:r>
            <a:r>
              <a:rPr lang="uk-UA" altLang="ru-RU" b="1"/>
              <a:t>в листопаді 2011 року </a:t>
            </a:r>
            <a:r>
              <a:rPr lang="uk-UA" altLang="ru-RU"/>
              <a:t>створено </a:t>
            </a:r>
            <a:r>
              <a:rPr lang="uk-UA" altLang="ru-RU" b="1"/>
              <a:t>7 ЦПМСД</a:t>
            </a:r>
            <a:r>
              <a:rPr lang="uk-UA" altLang="ru-RU"/>
              <a:t>, до складу яких входило </a:t>
            </a:r>
            <a:r>
              <a:rPr lang="uk-UA" altLang="ru-RU" b="1"/>
              <a:t>23 амбулаторії </a:t>
            </a:r>
            <a:r>
              <a:rPr lang="uk-UA" altLang="ru-RU"/>
              <a:t>загальної практики-сімейної медицини</a:t>
            </a:r>
            <a:endParaRPr lang="ru-RU" altLang="ru-RU"/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Объект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23" name="Picture 2" descr="C:\Users\Alisa-TML\Desktop\Доклад для мэра\Безымянный-1.jp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955" r="27710"/>
          <a:stretch>
            <a:fillRect/>
          </a:stretch>
        </p:blipFill>
        <p:spPr bwMode="auto">
          <a:xfrm>
            <a:off x="6267450" y="0"/>
            <a:ext cx="28765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4" name="Заголовок 1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115888"/>
            <a:ext cx="6267450" cy="662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/>
            <a:r>
              <a:rPr lang="uk-UA" altLang="ru-RU" sz="2800" i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Згідно наказу МОЗ України №793 від 10.09.2013 «Про затвердження Нормативів забезпеченості мережею амбулаторій - підрозділів центрів первинної (медико-санітарної) допо-моги»  мережа амбулаторій загаль-ної практики-сімейної медицини по місту має складати </a:t>
            </a:r>
            <a:r>
              <a:rPr lang="uk-UA" altLang="ru-RU" sz="2800" b="1" i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65 одиниць</a:t>
            </a:r>
            <a:r>
              <a:rPr lang="uk-UA" altLang="ru-RU" sz="2800" i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.</a:t>
            </a:r>
            <a:endParaRPr lang="en-US" altLang="ru-RU" sz="2800" i="1">
              <a:solidFill>
                <a:srgbClr val="990099"/>
              </a:solidFill>
              <a:latin typeface="Tahoma" pitchFamily="34" charset="0"/>
              <a:cs typeface="Tahoma" pitchFamily="34" charset="0"/>
            </a:endParaRPr>
          </a:p>
          <a:p>
            <a:pPr algn="just"/>
            <a:endParaRPr lang="uk-UA" altLang="ru-RU" sz="2800" i="1">
              <a:solidFill>
                <a:srgbClr val="990099"/>
              </a:solidFill>
              <a:latin typeface="Tahoma" pitchFamily="34" charset="0"/>
              <a:cs typeface="Tahoma" pitchFamily="34" charset="0"/>
            </a:endParaRPr>
          </a:p>
          <a:p>
            <a:pPr algn="just"/>
            <a:r>
              <a:rPr lang="uk-UA" altLang="ru-RU" sz="2800" b="1" i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До кінця 2016 року в місті функціонуватиме 38 амбулато-рій.</a:t>
            </a:r>
            <a:endParaRPr lang="en-US" altLang="ru-RU" sz="2800" b="1" i="1">
              <a:solidFill>
                <a:srgbClr val="990099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5125" name="TextBox 18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67450" y="2420938"/>
            <a:ext cx="2841625" cy="266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prstDash val="sysDash"/>
                <a:miter lim="800000"/>
                <a:headEnd/>
                <a:tailEnd/>
              </a14:hiddenLine>
            </a:ext>
          </a:extLst>
        </p:spPr>
        <p:txBody>
          <a:bodyPr lIns="108000" tIns="108000" rIns="36000" bIns="108000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uk-UA" altLang="ru-RU" sz="2000" b="1">
                <a:solidFill>
                  <a:srgbClr val="000000"/>
                </a:solidFill>
              </a:rPr>
              <a:t>Кількість амбулаторій в ЦПМСД по місту:</a:t>
            </a:r>
          </a:p>
          <a:p>
            <a:r>
              <a:rPr lang="uk-UA" altLang="ru-RU" sz="2000" b="1">
                <a:solidFill>
                  <a:srgbClr val="000000"/>
                </a:solidFill>
              </a:rPr>
              <a:t>01.</a:t>
            </a:r>
            <a:r>
              <a:rPr lang="en-US" altLang="ru-RU" sz="2000" b="1">
                <a:solidFill>
                  <a:srgbClr val="000000"/>
                </a:solidFill>
              </a:rPr>
              <a:t>01</a:t>
            </a:r>
            <a:r>
              <a:rPr lang="uk-UA" altLang="ru-RU" sz="2000" b="1">
                <a:solidFill>
                  <a:srgbClr val="000000"/>
                </a:solidFill>
              </a:rPr>
              <a:t>.201</a:t>
            </a:r>
            <a:r>
              <a:rPr lang="en-US" altLang="ru-RU" sz="2000" b="1">
                <a:solidFill>
                  <a:srgbClr val="000000"/>
                </a:solidFill>
              </a:rPr>
              <a:t>2</a:t>
            </a:r>
            <a:r>
              <a:rPr lang="uk-UA" altLang="ru-RU" sz="2000" b="1">
                <a:solidFill>
                  <a:srgbClr val="000000"/>
                </a:solidFill>
              </a:rPr>
              <a:t> рік – 24 од.</a:t>
            </a:r>
          </a:p>
          <a:p>
            <a:r>
              <a:rPr lang="uk-UA" altLang="ru-RU" sz="2000" b="1">
                <a:solidFill>
                  <a:srgbClr val="000000"/>
                </a:solidFill>
              </a:rPr>
              <a:t>01.01.2014 рік – 30 од.</a:t>
            </a:r>
          </a:p>
          <a:p>
            <a:r>
              <a:rPr lang="uk-UA" altLang="ru-RU" sz="2000" b="1">
                <a:solidFill>
                  <a:srgbClr val="000000"/>
                </a:solidFill>
              </a:rPr>
              <a:t>01.01.2015 рік – 31 од.</a:t>
            </a:r>
          </a:p>
          <a:p>
            <a:r>
              <a:rPr lang="uk-UA" altLang="ru-RU" sz="2000" b="1">
                <a:solidFill>
                  <a:srgbClr val="000000"/>
                </a:solidFill>
              </a:rPr>
              <a:t>01.01.2016 рік – 35 од.</a:t>
            </a:r>
            <a:endParaRPr lang="en-US" altLang="ru-RU" sz="2000" b="1">
              <a:solidFill>
                <a:srgbClr val="000000"/>
              </a:solidFill>
            </a:endParaRPr>
          </a:p>
          <a:p>
            <a:r>
              <a:rPr lang="en-US" altLang="ru-RU" sz="2000" b="1">
                <a:solidFill>
                  <a:srgbClr val="000000"/>
                </a:solidFill>
              </a:rPr>
              <a:t>01</a:t>
            </a:r>
            <a:r>
              <a:rPr lang="uk-UA" altLang="ru-RU" sz="2000" b="1">
                <a:solidFill>
                  <a:srgbClr val="000000"/>
                </a:solidFill>
              </a:rPr>
              <a:t>.09.2016 рік – 36 од.</a:t>
            </a:r>
          </a:p>
        </p:txBody>
      </p:sp>
      <p:pic>
        <p:nvPicPr>
          <p:cNvPr id="5126" name="Picture 3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8925" y="333375"/>
            <a:ext cx="2133600" cy="152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Заголовок 1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198438" y="1268413"/>
            <a:ext cx="5094287" cy="676275"/>
          </a:xfrm>
          <a:prstGeom prst="rect">
            <a:avLst/>
          </a:prstGeom>
        </p:spPr>
        <p:txBody>
          <a:bodyPr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auto">
              <a:spcAft>
                <a:spcPts val="0"/>
              </a:spcAft>
              <a:defRPr/>
            </a:pPr>
            <a:endParaRPr lang="uk-UA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3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Объект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47" name="Picture 2" descr="C:\Users\Alisa-TML\Desktop\Доклад для мэра\Безымянный-1.jp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955" r="27710"/>
          <a:stretch>
            <a:fillRect/>
          </a:stretch>
        </p:blipFill>
        <p:spPr bwMode="auto">
          <a:xfrm>
            <a:off x="6267450" y="0"/>
            <a:ext cx="287655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8" name="Заголовок 1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0" y="42863"/>
            <a:ext cx="6267450" cy="1330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ru-RU" altLang="ru-RU" sz="2400" b="1" i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Угода між Україною та Міжнародним банком реконструкції та розвитку </a:t>
            </a:r>
          </a:p>
        </p:txBody>
      </p:sp>
      <p:sp>
        <p:nvSpPr>
          <p:cNvPr id="6149" name="TextBox 18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267450" y="2568575"/>
            <a:ext cx="2876550" cy="3021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prstDash val="sysDash"/>
                <a:miter lim="800000"/>
                <a:headEnd/>
                <a:tailEnd/>
              </a14:hiddenLine>
            </a:ext>
          </a:extLst>
        </p:spPr>
        <p:txBody>
          <a:bodyPr lIns="108000" tIns="108000" rIns="36000" bIns="108000"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ru-RU" altLang="ru-RU" sz="2000" b="1">
                <a:solidFill>
                  <a:srgbClr val="000000"/>
                </a:solidFill>
              </a:rPr>
              <a:t>Визначено 10 об’єктів реконструкції приміщень під відкриття амбулаторій центрів первинної медико-санітарної допомоги в рамках угоди</a:t>
            </a:r>
          </a:p>
        </p:txBody>
      </p:sp>
      <p:pic>
        <p:nvPicPr>
          <p:cNvPr id="6150" name="Picture 3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8925" y="333375"/>
            <a:ext cx="2133600" cy="152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Заголовок 1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198438" y="1519238"/>
            <a:ext cx="5094287" cy="674687"/>
          </a:xfrm>
          <a:prstGeom prst="rect">
            <a:avLst/>
          </a:prstGeom>
        </p:spPr>
        <p:txBody>
          <a:bodyPr anchor="ctr">
            <a:normAutofit fontScale="97500"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auto">
              <a:spcAft>
                <a:spcPts val="0"/>
              </a:spcAft>
              <a:defRPr/>
            </a:pPr>
            <a:endParaRPr lang="uk-UA" sz="12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Заголовок 1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0" y="1341438"/>
            <a:ext cx="6267450" cy="5256212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/>
            <a:r>
              <a:rPr lang="ru-RU" altLang="ru-RU" sz="2800" i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З 2015 року розпочато роботу з відкриття </a:t>
            </a:r>
            <a:r>
              <a:rPr lang="ru-RU" altLang="ru-RU" sz="2800" b="1" i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34</a:t>
            </a:r>
            <a:r>
              <a:rPr lang="ru-RU" altLang="ru-RU" sz="2800" i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 амбулаторій загальної практики - сімейної медицини:</a:t>
            </a:r>
          </a:p>
          <a:p>
            <a:pPr algn="just"/>
            <a:endParaRPr lang="uk-UA" altLang="ru-RU" sz="2800" i="1">
              <a:solidFill>
                <a:srgbClr val="990099"/>
              </a:solidFill>
              <a:latin typeface="Tahoma" pitchFamily="34" charset="0"/>
              <a:cs typeface="Tahoma" pitchFamily="34" charset="0"/>
            </a:endParaRPr>
          </a:p>
          <a:p>
            <a:pPr algn="just"/>
            <a:r>
              <a:rPr lang="uk-UA" altLang="ru-RU" sz="2800" i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- </a:t>
            </a:r>
            <a:r>
              <a:rPr lang="ru-RU" altLang="ru-RU" sz="2800" i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в 2015 році вже відкрито </a:t>
            </a:r>
            <a:r>
              <a:rPr lang="ru-RU" altLang="ru-RU" sz="2800" b="1" i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4 </a:t>
            </a:r>
            <a:r>
              <a:rPr lang="ru-RU" altLang="ru-RU" sz="2800" i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амбулаторії;</a:t>
            </a:r>
          </a:p>
          <a:p>
            <a:pPr algn="just"/>
            <a:endParaRPr lang="uk-UA" altLang="ru-RU" sz="2800" i="1">
              <a:solidFill>
                <a:srgbClr val="990099"/>
              </a:solidFill>
              <a:latin typeface="Tahoma" pitchFamily="34" charset="0"/>
              <a:cs typeface="Tahoma" pitchFamily="34" charset="0"/>
            </a:endParaRPr>
          </a:p>
          <a:p>
            <a:pPr algn="just">
              <a:buFontTx/>
              <a:buChar char="-"/>
            </a:pPr>
            <a:r>
              <a:rPr lang="ru-RU" altLang="ru-RU" sz="2800" i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2016 - 2018  роки заплановано створити ще </a:t>
            </a:r>
            <a:r>
              <a:rPr lang="ru-RU" altLang="ru-RU" sz="2800" b="1" i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30 </a:t>
            </a:r>
            <a:r>
              <a:rPr lang="ru-RU" altLang="ru-RU" sz="2800" i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амбулаторій: </a:t>
            </a:r>
          </a:p>
          <a:p>
            <a:pPr algn="just">
              <a:buFontTx/>
              <a:buChar char="-"/>
            </a:pPr>
            <a:endParaRPr lang="ru-RU" altLang="ru-RU" sz="2800" i="1">
              <a:solidFill>
                <a:srgbClr val="990099"/>
              </a:solidFill>
              <a:latin typeface="Tahoma" pitchFamily="34" charset="0"/>
              <a:cs typeface="Tahoma" pitchFamily="34" charset="0"/>
            </a:endParaRPr>
          </a:p>
          <a:p>
            <a:pPr algn="just"/>
            <a:r>
              <a:rPr lang="ru-RU" altLang="ru-RU" sz="2800" b="1" i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10 </a:t>
            </a:r>
            <a:r>
              <a:rPr lang="ru-RU" altLang="ru-RU" sz="2800" i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– за підтримки Світового банку, </a:t>
            </a:r>
          </a:p>
          <a:p>
            <a:pPr algn="just"/>
            <a:r>
              <a:rPr lang="ru-RU" altLang="ru-RU" sz="2800" b="1" i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20 </a:t>
            </a:r>
            <a:r>
              <a:rPr lang="ru-RU" altLang="ru-RU" sz="2800" i="1">
                <a:solidFill>
                  <a:srgbClr val="990099"/>
                </a:solidFill>
                <a:latin typeface="Tahoma" pitchFamily="34" charset="0"/>
                <a:cs typeface="Tahoma" pitchFamily="34" charset="0"/>
              </a:rPr>
              <a:t>– за рахунок міського бюджету.</a:t>
            </a:r>
            <a:endParaRPr lang="uk-UA" altLang="ru-RU" sz="2800" i="1">
              <a:solidFill>
                <a:srgbClr val="990099"/>
              </a:solidFill>
              <a:latin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олилиния 13"/>
          <p:cNvSpPr/>
          <p:nvPr/>
        </p:nvSpPr>
        <p:spPr>
          <a:xfrm>
            <a:off x="7323138" y="271463"/>
            <a:ext cx="1504950" cy="881062"/>
          </a:xfrm>
          <a:custGeom>
            <a:avLst/>
            <a:gdLst>
              <a:gd name="connsiteX0" fmla="*/ 128752 w 1003739"/>
              <a:gd name="connsiteY0" fmla="*/ 428296 h 683172"/>
              <a:gd name="connsiteX1" fmla="*/ 18394 w 1003739"/>
              <a:gd name="connsiteY1" fmla="*/ 317937 h 683172"/>
              <a:gd name="connsiteX2" fmla="*/ 81456 w 1003739"/>
              <a:gd name="connsiteY2" fmla="*/ 176048 h 683172"/>
              <a:gd name="connsiteX3" fmla="*/ 333704 w 1003739"/>
              <a:gd name="connsiteY3" fmla="*/ 2627 h 683172"/>
              <a:gd name="connsiteX4" fmla="*/ 885497 w 1003739"/>
              <a:gd name="connsiteY4" fmla="*/ 191813 h 683172"/>
              <a:gd name="connsiteX5" fmla="*/ 932794 w 1003739"/>
              <a:gd name="connsiteY5" fmla="*/ 601717 h 683172"/>
              <a:gd name="connsiteX6" fmla="*/ 459828 w 1003739"/>
              <a:gd name="connsiteY6" fmla="*/ 649013 h 683172"/>
              <a:gd name="connsiteX7" fmla="*/ 65690 w 1003739"/>
              <a:gd name="connsiteY7" fmla="*/ 396765 h 683172"/>
              <a:gd name="connsiteX8" fmla="*/ 65690 w 1003739"/>
              <a:gd name="connsiteY8" fmla="*/ 412530 h 683172"/>
              <a:gd name="connsiteX0" fmla="*/ 118241 w 993228"/>
              <a:gd name="connsiteY0" fmla="*/ 428296 h 677917"/>
              <a:gd name="connsiteX1" fmla="*/ 7883 w 993228"/>
              <a:gd name="connsiteY1" fmla="*/ 317937 h 677917"/>
              <a:gd name="connsiteX2" fmla="*/ 70945 w 993228"/>
              <a:gd name="connsiteY2" fmla="*/ 176048 h 677917"/>
              <a:gd name="connsiteX3" fmla="*/ 323193 w 993228"/>
              <a:gd name="connsiteY3" fmla="*/ 2627 h 677917"/>
              <a:gd name="connsiteX4" fmla="*/ 874986 w 993228"/>
              <a:gd name="connsiteY4" fmla="*/ 191813 h 677917"/>
              <a:gd name="connsiteX5" fmla="*/ 922283 w 993228"/>
              <a:gd name="connsiteY5" fmla="*/ 601717 h 677917"/>
              <a:gd name="connsiteX6" fmla="*/ 449317 w 993228"/>
              <a:gd name="connsiteY6" fmla="*/ 649013 h 677917"/>
              <a:gd name="connsiteX7" fmla="*/ 207879 w 993228"/>
              <a:gd name="connsiteY7" fmla="*/ 536992 h 677917"/>
              <a:gd name="connsiteX8" fmla="*/ 55179 w 993228"/>
              <a:gd name="connsiteY8" fmla="*/ 396765 h 677917"/>
              <a:gd name="connsiteX9" fmla="*/ 55179 w 993228"/>
              <a:gd name="connsiteY9" fmla="*/ 412530 h 677917"/>
              <a:gd name="connsiteX0" fmla="*/ 124910 w 999897"/>
              <a:gd name="connsiteY0" fmla="*/ 428296 h 677917"/>
              <a:gd name="connsiteX1" fmla="*/ 14552 w 999897"/>
              <a:gd name="connsiteY1" fmla="*/ 317937 h 677917"/>
              <a:gd name="connsiteX2" fmla="*/ 77614 w 999897"/>
              <a:gd name="connsiteY2" fmla="*/ 176048 h 677917"/>
              <a:gd name="connsiteX3" fmla="*/ 329862 w 999897"/>
              <a:gd name="connsiteY3" fmla="*/ 2627 h 677917"/>
              <a:gd name="connsiteX4" fmla="*/ 881655 w 999897"/>
              <a:gd name="connsiteY4" fmla="*/ 191813 h 677917"/>
              <a:gd name="connsiteX5" fmla="*/ 928952 w 999897"/>
              <a:gd name="connsiteY5" fmla="*/ 601717 h 677917"/>
              <a:gd name="connsiteX6" fmla="*/ 455986 w 999897"/>
              <a:gd name="connsiteY6" fmla="*/ 649013 h 677917"/>
              <a:gd name="connsiteX7" fmla="*/ 432938 w 999897"/>
              <a:gd name="connsiteY7" fmla="*/ 463901 h 677917"/>
              <a:gd name="connsiteX8" fmla="*/ 61848 w 999897"/>
              <a:gd name="connsiteY8" fmla="*/ 396765 h 677917"/>
              <a:gd name="connsiteX9" fmla="*/ 61848 w 999897"/>
              <a:gd name="connsiteY9" fmla="*/ 412530 h 677917"/>
              <a:gd name="connsiteX0" fmla="*/ 124910 w 981503"/>
              <a:gd name="connsiteY0" fmla="*/ 428296 h 647065"/>
              <a:gd name="connsiteX1" fmla="*/ 14552 w 981503"/>
              <a:gd name="connsiteY1" fmla="*/ 317937 h 647065"/>
              <a:gd name="connsiteX2" fmla="*/ 77614 w 981503"/>
              <a:gd name="connsiteY2" fmla="*/ 176048 h 647065"/>
              <a:gd name="connsiteX3" fmla="*/ 329862 w 981503"/>
              <a:gd name="connsiteY3" fmla="*/ 2627 h 647065"/>
              <a:gd name="connsiteX4" fmla="*/ 881655 w 981503"/>
              <a:gd name="connsiteY4" fmla="*/ 191813 h 647065"/>
              <a:gd name="connsiteX5" fmla="*/ 928952 w 981503"/>
              <a:gd name="connsiteY5" fmla="*/ 601717 h 647065"/>
              <a:gd name="connsiteX6" fmla="*/ 578532 w 981503"/>
              <a:gd name="connsiteY6" fmla="*/ 463901 h 647065"/>
              <a:gd name="connsiteX7" fmla="*/ 432938 w 981503"/>
              <a:gd name="connsiteY7" fmla="*/ 463901 h 647065"/>
              <a:gd name="connsiteX8" fmla="*/ 61848 w 981503"/>
              <a:gd name="connsiteY8" fmla="*/ 396765 h 647065"/>
              <a:gd name="connsiteX9" fmla="*/ 61848 w 981503"/>
              <a:gd name="connsiteY9" fmla="*/ 412530 h 647065"/>
              <a:gd name="connsiteX0" fmla="*/ 124910 w 1015871"/>
              <a:gd name="connsiteY0" fmla="*/ 428296 h 1144682"/>
              <a:gd name="connsiteX1" fmla="*/ 14552 w 1015871"/>
              <a:gd name="connsiteY1" fmla="*/ 317937 h 1144682"/>
              <a:gd name="connsiteX2" fmla="*/ 77614 w 1015871"/>
              <a:gd name="connsiteY2" fmla="*/ 176048 h 1144682"/>
              <a:gd name="connsiteX3" fmla="*/ 329862 w 1015871"/>
              <a:gd name="connsiteY3" fmla="*/ 2627 h 1144682"/>
              <a:gd name="connsiteX4" fmla="*/ 881655 w 1015871"/>
              <a:gd name="connsiteY4" fmla="*/ 191813 h 1144682"/>
              <a:gd name="connsiteX5" fmla="*/ 928952 w 1015871"/>
              <a:gd name="connsiteY5" fmla="*/ 601717 h 1144682"/>
              <a:gd name="connsiteX6" fmla="*/ 360143 w 1015871"/>
              <a:gd name="connsiteY6" fmla="*/ 1121713 h 1144682"/>
              <a:gd name="connsiteX7" fmla="*/ 578532 w 1015871"/>
              <a:gd name="connsiteY7" fmla="*/ 463901 h 1144682"/>
              <a:gd name="connsiteX8" fmla="*/ 432938 w 1015871"/>
              <a:gd name="connsiteY8" fmla="*/ 463901 h 1144682"/>
              <a:gd name="connsiteX9" fmla="*/ 61848 w 1015871"/>
              <a:gd name="connsiteY9" fmla="*/ 396765 h 1144682"/>
              <a:gd name="connsiteX10" fmla="*/ 61848 w 1015871"/>
              <a:gd name="connsiteY10" fmla="*/ 412530 h 1144682"/>
              <a:gd name="connsiteX0" fmla="*/ 124910 w 981503"/>
              <a:gd name="connsiteY0" fmla="*/ 428296 h 1170440"/>
              <a:gd name="connsiteX1" fmla="*/ 14552 w 981503"/>
              <a:gd name="connsiteY1" fmla="*/ 317937 h 1170440"/>
              <a:gd name="connsiteX2" fmla="*/ 77614 w 981503"/>
              <a:gd name="connsiteY2" fmla="*/ 176048 h 1170440"/>
              <a:gd name="connsiteX3" fmla="*/ 329862 w 981503"/>
              <a:gd name="connsiteY3" fmla="*/ 2627 h 1170440"/>
              <a:gd name="connsiteX4" fmla="*/ 881655 w 981503"/>
              <a:gd name="connsiteY4" fmla="*/ 191813 h 1170440"/>
              <a:gd name="connsiteX5" fmla="*/ 928952 w 981503"/>
              <a:gd name="connsiteY5" fmla="*/ 601717 h 1170440"/>
              <a:gd name="connsiteX6" fmla="*/ 724126 w 981503"/>
              <a:gd name="connsiteY6" fmla="*/ 756262 h 1170440"/>
              <a:gd name="connsiteX7" fmla="*/ 360143 w 981503"/>
              <a:gd name="connsiteY7" fmla="*/ 1121713 h 1170440"/>
              <a:gd name="connsiteX8" fmla="*/ 578532 w 981503"/>
              <a:gd name="connsiteY8" fmla="*/ 463901 h 1170440"/>
              <a:gd name="connsiteX9" fmla="*/ 432938 w 981503"/>
              <a:gd name="connsiteY9" fmla="*/ 463901 h 1170440"/>
              <a:gd name="connsiteX10" fmla="*/ 61848 w 981503"/>
              <a:gd name="connsiteY10" fmla="*/ 396765 h 1170440"/>
              <a:gd name="connsiteX11" fmla="*/ 61848 w 981503"/>
              <a:gd name="connsiteY11" fmla="*/ 412530 h 1170440"/>
              <a:gd name="connsiteX0" fmla="*/ 124910 w 971631"/>
              <a:gd name="connsiteY0" fmla="*/ 428296 h 1170440"/>
              <a:gd name="connsiteX1" fmla="*/ 14552 w 971631"/>
              <a:gd name="connsiteY1" fmla="*/ 317937 h 1170440"/>
              <a:gd name="connsiteX2" fmla="*/ 77614 w 971631"/>
              <a:gd name="connsiteY2" fmla="*/ 176048 h 1170440"/>
              <a:gd name="connsiteX3" fmla="*/ 329862 w 971631"/>
              <a:gd name="connsiteY3" fmla="*/ 2627 h 1170440"/>
              <a:gd name="connsiteX4" fmla="*/ 881655 w 971631"/>
              <a:gd name="connsiteY4" fmla="*/ 191813 h 1170440"/>
              <a:gd name="connsiteX5" fmla="*/ 869720 w 971631"/>
              <a:gd name="connsiteY5" fmla="*/ 536991 h 1170440"/>
              <a:gd name="connsiteX6" fmla="*/ 724126 w 971631"/>
              <a:gd name="connsiteY6" fmla="*/ 756262 h 1170440"/>
              <a:gd name="connsiteX7" fmla="*/ 360143 w 971631"/>
              <a:gd name="connsiteY7" fmla="*/ 1121713 h 1170440"/>
              <a:gd name="connsiteX8" fmla="*/ 578532 w 971631"/>
              <a:gd name="connsiteY8" fmla="*/ 463901 h 1170440"/>
              <a:gd name="connsiteX9" fmla="*/ 432938 w 971631"/>
              <a:gd name="connsiteY9" fmla="*/ 463901 h 1170440"/>
              <a:gd name="connsiteX10" fmla="*/ 61848 w 971631"/>
              <a:gd name="connsiteY10" fmla="*/ 396765 h 1170440"/>
              <a:gd name="connsiteX11" fmla="*/ 61848 w 971631"/>
              <a:gd name="connsiteY11" fmla="*/ 412530 h 1170440"/>
              <a:gd name="connsiteX0" fmla="*/ 124910 w 971631"/>
              <a:gd name="connsiteY0" fmla="*/ 428296 h 1170440"/>
              <a:gd name="connsiteX1" fmla="*/ 14552 w 971631"/>
              <a:gd name="connsiteY1" fmla="*/ 317937 h 1170440"/>
              <a:gd name="connsiteX2" fmla="*/ 77614 w 971631"/>
              <a:gd name="connsiteY2" fmla="*/ 176048 h 1170440"/>
              <a:gd name="connsiteX3" fmla="*/ 329862 w 971631"/>
              <a:gd name="connsiteY3" fmla="*/ 2627 h 1170440"/>
              <a:gd name="connsiteX4" fmla="*/ 881655 w 971631"/>
              <a:gd name="connsiteY4" fmla="*/ 191813 h 1170440"/>
              <a:gd name="connsiteX5" fmla="*/ 869720 w 971631"/>
              <a:gd name="connsiteY5" fmla="*/ 536991 h 1170440"/>
              <a:gd name="connsiteX6" fmla="*/ 724126 w 971631"/>
              <a:gd name="connsiteY6" fmla="*/ 756262 h 1170440"/>
              <a:gd name="connsiteX7" fmla="*/ 360143 w 971631"/>
              <a:gd name="connsiteY7" fmla="*/ 1121713 h 1170440"/>
              <a:gd name="connsiteX8" fmla="*/ 578532 w 971631"/>
              <a:gd name="connsiteY8" fmla="*/ 463901 h 1170440"/>
              <a:gd name="connsiteX9" fmla="*/ 432938 w 971631"/>
              <a:gd name="connsiteY9" fmla="*/ 463901 h 1170440"/>
              <a:gd name="connsiteX10" fmla="*/ 61848 w 971631"/>
              <a:gd name="connsiteY10" fmla="*/ 396765 h 1170440"/>
              <a:gd name="connsiteX11" fmla="*/ 61848 w 971631"/>
              <a:gd name="connsiteY11" fmla="*/ 412530 h 1170440"/>
              <a:gd name="connsiteX0" fmla="*/ 124910 w 971631"/>
              <a:gd name="connsiteY0" fmla="*/ 428296 h 1158258"/>
              <a:gd name="connsiteX1" fmla="*/ 14552 w 971631"/>
              <a:gd name="connsiteY1" fmla="*/ 317937 h 1158258"/>
              <a:gd name="connsiteX2" fmla="*/ 77614 w 971631"/>
              <a:gd name="connsiteY2" fmla="*/ 176048 h 1158258"/>
              <a:gd name="connsiteX3" fmla="*/ 329862 w 971631"/>
              <a:gd name="connsiteY3" fmla="*/ 2627 h 1158258"/>
              <a:gd name="connsiteX4" fmla="*/ 881655 w 971631"/>
              <a:gd name="connsiteY4" fmla="*/ 191813 h 1158258"/>
              <a:gd name="connsiteX5" fmla="*/ 869720 w 971631"/>
              <a:gd name="connsiteY5" fmla="*/ 536991 h 1158258"/>
              <a:gd name="connsiteX6" fmla="*/ 724126 w 971631"/>
              <a:gd name="connsiteY6" fmla="*/ 756262 h 1158258"/>
              <a:gd name="connsiteX7" fmla="*/ 360143 w 971631"/>
              <a:gd name="connsiteY7" fmla="*/ 1121713 h 1158258"/>
              <a:gd name="connsiteX8" fmla="*/ 360143 w 971631"/>
              <a:gd name="connsiteY8" fmla="*/ 975531 h 1158258"/>
              <a:gd name="connsiteX9" fmla="*/ 578532 w 971631"/>
              <a:gd name="connsiteY9" fmla="*/ 463901 h 1158258"/>
              <a:gd name="connsiteX10" fmla="*/ 432938 w 971631"/>
              <a:gd name="connsiteY10" fmla="*/ 463901 h 1158258"/>
              <a:gd name="connsiteX11" fmla="*/ 61848 w 971631"/>
              <a:gd name="connsiteY11" fmla="*/ 396765 h 1158258"/>
              <a:gd name="connsiteX12" fmla="*/ 61848 w 971631"/>
              <a:gd name="connsiteY12" fmla="*/ 412530 h 1158258"/>
              <a:gd name="connsiteX0" fmla="*/ 124910 w 971631"/>
              <a:gd name="connsiteY0" fmla="*/ 428296 h 1158258"/>
              <a:gd name="connsiteX1" fmla="*/ 14552 w 971631"/>
              <a:gd name="connsiteY1" fmla="*/ 317937 h 1158258"/>
              <a:gd name="connsiteX2" fmla="*/ 77614 w 971631"/>
              <a:gd name="connsiteY2" fmla="*/ 176048 h 1158258"/>
              <a:gd name="connsiteX3" fmla="*/ 329862 w 971631"/>
              <a:gd name="connsiteY3" fmla="*/ 2627 h 1158258"/>
              <a:gd name="connsiteX4" fmla="*/ 881655 w 971631"/>
              <a:gd name="connsiteY4" fmla="*/ 191813 h 1158258"/>
              <a:gd name="connsiteX5" fmla="*/ 869720 w 971631"/>
              <a:gd name="connsiteY5" fmla="*/ 536991 h 1158258"/>
              <a:gd name="connsiteX6" fmla="*/ 724126 w 971631"/>
              <a:gd name="connsiteY6" fmla="*/ 756262 h 1158258"/>
              <a:gd name="connsiteX7" fmla="*/ 360143 w 971631"/>
              <a:gd name="connsiteY7" fmla="*/ 1121713 h 1158258"/>
              <a:gd name="connsiteX8" fmla="*/ 360143 w 971631"/>
              <a:gd name="connsiteY8" fmla="*/ 975531 h 1158258"/>
              <a:gd name="connsiteX9" fmla="*/ 651330 w 971631"/>
              <a:gd name="connsiteY9" fmla="*/ 610081 h 1158258"/>
              <a:gd name="connsiteX10" fmla="*/ 578532 w 971631"/>
              <a:gd name="connsiteY10" fmla="*/ 463901 h 1158258"/>
              <a:gd name="connsiteX11" fmla="*/ 432938 w 971631"/>
              <a:gd name="connsiteY11" fmla="*/ 463901 h 1158258"/>
              <a:gd name="connsiteX12" fmla="*/ 61848 w 971631"/>
              <a:gd name="connsiteY12" fmla="*/ 396765 h 1158258"/>
              <a:gd name="connsiteX13" fmla="*/ 61848 w 971631"/>
              <a:gd name="connsiteY13" fmla="*/ 412530 h 1158258"/>
              <a:gd name="connsiteX0" fmla="*/ 124910 w 971631"/>
              <a:gd name="connsiteY0" fmla="*/ 428296 h 1133894"/>
              <a:gd name="connsiteX1" fmla="*/ 14552 w 971631"/>
              <a:gd name="connsiteY1" fmla="*/ 317937 h 1133894"/>
              <a:gd name="connsiteX2" fmla="*/ 77614 w 971631"/>
              <a:gd name="connsiteY2" fmla="*/ 176048 h 1133894"/>
              <a:gd name="connsiteX3" fmla="*/ 329862 w 971631"/>
              <a:gd name="connsiteY3" fmla="*/ 2627 h 1133894"/>
              <a:gd name="connsiteX4" fmla="*/ 881655 w 971631"/>
              <a:gd name="connsiteY4" fmla="*/ 191813 h 1133894"/>
              <a:gd name="connsiteX5" fmla="*/ 869720 w 971631"/>
              <a:gd name="connsiteY5" fmla="*/ 536991 h 1133894"/>
              <a:gd name="connsiteX6" fmla="*/ 724126 w 971631"/>
              <a:gd name="connsiteY6" fmla="*/ 756262 h 1133894"/>
              <a:gd name="connsiteX7" fmla="*/ 651330 w 971631"/>
              <a:gd name="connsiteY7" fmla="*/ 902442 h 1133894"/>
              <a:gd name="connsiteX8" fmla="*/ 360143 w 971631"/>
              <a:gd name="connsiteY8" fmla="*/ 1121713 h 1133894"/>
              <a:gd name="connsiteX9" fmla="*/ 360143 w 971631"/>
              <a:gd name="connsiteY9" fmla="*/ 975531 h 1133894"/>
              <a:gd name="connsiteX10" fmla="*/ 651330 w 971631"/>
              <a:gd name="connsiteY10" fmla="*/ 610081 h 1133894"/>
              <a:gd name="connsiteX11" fmla="*/ 578532 w 971631"/>
              <a:gd name="connsiteY11" fmla="*/ 463901 h 1133894"/>
              <a:gd name="connsiteX12" fmla="*/ 432938 w 971631"/>
              <a:gd name="connsiteY12" fmla="*/ 463901 h 1133894"/>
              <a:gd name="connsiteX13" fmla="*/ 61848 w 971631"/>
              <a:gd name="connsiteY13" fmla="*/ 396765 h 1133894"/>
              <a:gd name="connsiteX14" fmla="*/ 61848 w 971631"/>
              <a:gd name="connsiteY14" fmla="*/ 412530 h 1133894"/>
              <a:gd name="connsiteX0" fmla="*/ 205590 w 1052311"/>
              <a:gd name="connsiteY0" fmla="*/ 428296 h 1133894"/>
              <a:gd name="connsiteX1" fmla="*/ 7883 w 1052311"/>
              <a:gd name="connsiteY1" fmla="*/ 365450 h 1133894"/>
              <a:gd name="connsiteX2" fmla="*/ 158294 w 1052311"/>
              <a:gd name="connsiteY2" fmla="*/ 176048 h 1133894"/>
              <a:gd name="connsiteX3" fmla="*/ 410542 w 1052311"/>
              <a:gd name="connsiteY3" fmla="*/ 2627 h 1133894"/>
              <a:gd name="connsiteX4" fmla="*/ 962335 w 1052311"/>
              <a:gd name="connsiteY4" fmla="*/ 191813 h 1133894"/>
              <a:gd name="connsiteX5" fmla="*/ 950400 w 1052311"/>
              <a:gd name="connsiteY5" fmla="*/ 536991 h 1133894"/>
              <a:gd name="connsiteX6" fmla="*/ 804806 w 1052311"/>
              <a:gd name="connsiteY6" fmla="*/ 756262 h 1133894"/>
              <a:gd name="connsiteX7" fmla="*/ 732010 w 1052311"/>
              <a:gd name="connsiteY7" fmla="*/ 902442 h 1133894"/>
              <a:gd name="connsiteX8" fmla="*/ 440823 w 1052311"/>
              <a:gd name="connsiteY8" fmla="*/ 1121713 h 1133894"/>
              <a:gd name="connsiteX9" fmla="*/ 440823 w 1052311"/>
              <a:gd name="connsiteY9" fmla="*/ 975531 h 1133894"/>
              <a:gd name="connsiteX10" fmla="*/ 732010 w 1052311"/>
              <a:gd name="connsiteY10" fmla="*/ 610081 h 1133894"/>
              <a:gd name="connsiteX11" fmla="*/ 659212 w 1052311"/>
              <a:gd name="connsiteY11" fmla="*/ 463901 h 1133894"/>
              <a:gd name="connsiteX12" fmla="*/ 513618 w 1052311"/>
              <a:gd name="connsiteY12" fmla="*/ 463901 h 1133894"/>
              <a:gd name="connsiteX13" fmla="*/ 142528 w 1052311"/>
              <a:gd name="connsiteY13" fmla="*/ 396765 h 1133894"/>
              <a:gd name="connsiteX14" fmla="*/ 142528 w 1052311"/>
              <a:gd name="connsiteY14" fmla="*/ 412530 h 1133894"/>
              <a:gd name="connsiteX0" fmla="*/ 222775 w 1069496"/>
              <a:gd name="connsiteY0" fmla="*/ 428296 h 1133894"/>
              <a:gd name="connsiteX1" fmla="*/ 25068 w 1069496"/>
              <a:gd name="connsiteY1" fmla="*/ 365450 h 1133894"/>
              <a:gd name="connsiteX2" fmla="*/ 25068 w 1069496"/>
              <a:gd name="connsiteY2" fmla="*/ 219270 h 1133894"/>
              <a:gd name="connsiteX3" fmla="*/ 175479 w 1069496"/>
              <a:gd name="connsiteY3" fmla="*/ 176048 h 1133894"/>
              <a:gd name="connsiteX4" fmla="*/ 427727 w 1069496"/>
              <a:gd name="connsiteY4" fmla="*/ 2627 h 1133894"/>
              <a:gd name="connsiteX5" fmla="*/ 979520 w 1069496"/>
              <a:gd name="connsiteY5" fmla="*/ 191813 h 1133894"/>
              <a:gd name="connsiteX6" fmla="*/ 967585 w 1069496"/>
              <a:gd name="connsiteY6" fmla="*/ 536991 h 1133894"/>
              <a:gd name="connsiteX7" fmla="*/ 821991 w 1069496"/>
              <a:gd name="connsiteY7" fmla="*/ 756262 h 1133894"/>
              <a:gd name="connsiteX8" fmla="*/ 749195 w 1069496"/>
              <a:gd name="connsiteY8" fmla="*/ 902442 h 1133894"/>
              <a:gd name="connsiteX9" fmla="*/ 458008 w 1069496"/>
              <a:gd name="connsiteY9" fmla="*/ 1121713 h 1133894"/>
              <a:gd name="connsiteX10" fmla="*/ 458008 w 1069496"/>
              <a:gd name="connsiteY10" fmla="*/ 975531 h 1133894"/>
              <a:gd name="connsiteX11" fmla="*/ 749195 w 1069496"/>
              <a:gd name="connsiteY11" fmla="*/ 610081 h 1133894"/>
              <a:gd name="connsiteX12" fmla="*/ 676397 w 1069496"/>
              <a:gd name="connsiteY12" fmla="*/ 463901 h 1133894"/>
              <a:gd name="connsiteX13" fmla="*/ 530803 w 1069496"/>
              <a:gd name="connsiteY13" fmla="*/ 463901 h 1133894"/>
              <a:gd name="connsiteX14" fmla="*/ 159713 w 1069496"/>
              <a:gd name="connsiteY14" fmla="*/ 396765 h 1133894"/>
              <a:gd name="connsiteX15" fmla="*/ 159713 w 1069496"/>
              <a:gd name="connsiteY15" fmla="*/ 412530 h 1133894"/>
              <a:gd name="connsiteX0" fmla="*/ 221973 w 1068694"/>
              <a:gd name="connsiteY0" fmla="*/ 430245 h 1135843"/>
              <a:gd name="connsiteX1" fmla="*/ 24266 w 1068694"/>
              <a:gd name="connsiteY1" fmla="*/ 367399 h 1135843"/>
              <a:gd name="connsiteX2" fmla="*/ 24266 w 1068694"/>
              <a:gd name="connsiteY2" fmla="*/ 221219 h 1135843"/>
              <a:gd name="connsiteX3" fmla="*/ 169861 w 1068694"/>
              <a:gd name="connsiteY3" fmla="*/ 221219 h 1135843"/>
              <a:gd name="connsiteX4" fmla="*/ 426925 w 1068694"/>
              <a:gd name="connsiteY4" fmla="*/ 4576 h 1135843"/>
              <a:gd name="connsiteX5" fmla="*/ 978718 w 1068694"/>
              <a:gd name="connsiteY5" fmla="*/ 193762 h 1135843"/>
              <a:gd name="connsiteX6" fmla="*/ 966783 w 1068694"/>
              <a:gd name="connsiteY6" fmla="*/ 538940 h 1135843"/>
              <a:gd name="connsiteX7" fmla="*/ 821189 w 1068694"/>
              <a:gd name="connsiteY7" fmla="*/ 758211 h 1135843"/>
              <a:gd name="connsiteX8" fmla="*/ 748393 w 1068694"/>
              <a:gd name="connsiteY8" fmla="*/ 904391 h 1135843"/>
              <a:gd name="connsiteX9" fmla="*/ 457206 w 1068694"/>
              <a:gd name="connsiteY9" fmla="*/ 1123662 h 1135843"/>
              <a:gd name="connsiteX10" fmla="*/ 457206 w 1068694"/>
              <a:gd name="connsiteY10" fmla="*/ 977480 h 1135843"/>
              <a:gd name="connsiteX11" fmla="*/ 748393 w 1068694"/>
              <a:gd name="connsiteY11" fmla="*/ 612030 h 1135843"/>
              <a:gd name="connsiteX12" fmla="*/ 675595 w 1068694"/>
              <a:gd name="connsiteY12" fmla="*/ 465850 h 1135843"/>
              <a:gd name="connsiteX13" fmla="*/ 530001 w 1068694"/>
              <a:gd name="connsiteY13" fmla="*/ 465850 h 1135843"/>
              <a:gd name="connsiteX14" fmla="*/ 158911 w 1068694"/>
              <a:gd name="connsiteY14" fmla="*/ 398714 h 1135843"/>
              <a:gd name="connsiteX15" fmla="*/ 158911 w 1068694"/>
              <a:gd name="connsiteY15" fmla="*/ 414479 h 1135843"/>
              <a:gd name="connsiteX0" fmla="*/ 221973 w 1068694"/>
              <a:gd name="connsiteY0" fmla="*/ 433274 h 1138872"/>
              <a:gd name="connsiteX1" fmla="*/ 24266 w 1068694"/>
              <a:gd name="connsiteY1" fmla="*/ 370428 h 1138872"/>
              <a:gd name="connsiteX2" fmla="*/ 24266 w 1068694"/>
              <a:gd name="connsiteY2" fmla="*/ 224248 h 1138872"/>
              <a:gd name="connsiteX3" fmla="*/ 169860 w 1068694"/>
              <a:gd name="connsiteY3" fmla="*/ 151158 h 1138872"/>
              <a:gd name="connsiteX4" fmla="*/ 426925 w 1068694"/>
              <a:gd name="connsiteY4" fmla="*/ 7605 h 1138872"/>
              <a:gd name="connsiteX5" fmla="*/ 978718 w 1068694"/>
              <a:gd name="connsiteY5" fmla="*/ 196791 h 1138872"/>
              <a:gd name="connsiteX6" fmla="*/ 966783 w 1068694"/>
              <a:gd name="connsiteY6" fmla="*/ 541969 h 1138872"/>
              <a:gd name="connsiteX7" fmla="*/ 821189 w 1068694"/>
              <a:gd name="connsiteY7" fmla="*/ 761240 h 1138872"/>
              <a:gd name="connsiteX8" fmla="*/ 748393 w 1068694"/>
              <a:gd name="connsiteY8" fmla="*/ 907420 h 1138872"/>
              <a:gd name="connsiteX9" fmla="*/ 457206 w 1068694"/>
              <a:gd name="connsiteY9" fmla="*/ 1126691 h 1138872"/>
              <a:gd name="connsiteX10" fmla="*/ 457206 w 1068694"/>
              <a:gd name="connsiteY10" fmla="*/ 980509 h 1138872"/>
              <a:gd name="connsiteX11" fmla="*/ 748393 w 1068694"/>
              <a:gd name="connsiteY11" fmla="*/ 615059 h 1138872"/>
              <a:gd name="connsiteX12" fmla="*/ 675595 w 1068694"/>
              <a:gd name="connsiteY12" fmla="*/ 468879 h 1138872"/>
              <a:gd name="connsiteX13" fmla="*/ 530001 w 1068694"/>
              <a:gd name="connsiteY13" fmla="*/ 468879 h 1138872"/>
              <a:gd name="connsiteX14" fmla="*/ 158911 w 1068694"/>
              <a:gd name="connsiteY14" fmla="*/ 401743 h 1138872"/>
              <a:gd name="connsiteX15" fmla="*/ 158911 w 1068694"/>
              <a:gd name="connsiteY15" fmla="*/ 417508 h 1138872"/>
              <a:gd name="connsiteX0" fmla="*/ 221973 w 1068694"/>
              <a:gd name="connsiteY0" fmla="*/ 445456 h 1151054"/>
              <a:gd name="connsiteX1" fmla="*/ 24266 w 1068694"/>
              <a:gd name="connsiteY1" fmla="*/ 382610 h 1151054"/>
              <a:gd name="connsiteX2" fmla="*/ 24266 w 1068694"/>
              <a:gd name="connsiteY2" fmla="*/ 236430 h 1151054"/>
              <a:gd name="connsiteX3" fmla="*/ 169860 w 1068694"/>
              <a:gd name="connsiteY3" fmla="*/ 163340 h 1151054"/>
              <a:gd name="connsiteX4" fmla="*/ 315454 w 1068694"/>
              <a:gd name="connsiteY4" fmla="*/ 90250 h 1151054"/>
              <a:gd name="connsiteX5" fmla="*/ 426925 w 1068694"/>
              <a:gd name="connsiteY5" fmla="*/ 19787 h 1151054"/>
              <a:gd name="connsiteX6" fmla="*/ 978718 w 1068694"/>
              <a:gd name="connsiteY6" fmla="*/ 208973 h 1151054"/>
              <a:gd name="connsiteX7" fmla="*/ 966783 w 1068694"/>
              <a:gd name="connsiteY7" fmla="*/ 554151 h 1151054"/>
              <a:gd name="connsiteX8" fmla="*/ 821189 w 1068694"/>
              <a:gd name="connsiteY8" fmla="*/ 773422 h 1151054"/>
              <a:gd name="connsiteX9" fmla="*/ 748393 w 1068694"/>
              <a:gd name="connsiteY9" fmla="*/ 919602 h 1151054"/>
              <a:gd name="connsiteX10" fmla="*/ 457206 w 1068694"/>
              <a:gd name="connsiteY10" fmla="*/ 1138873 h 1151054"/>
              <a:gd name="connsiteX11" fmla="*/ 457206 w 1068694"/>
              <a:gd name="connsiteY11" fmla="*/ 992691 h 1151054"/>
              <a:gd name="connsiteX12" fmla="*/ 748393 w 1068694"/>
              <a:gd name="connsiteY12" fmla="*/ 627241 h 1151054"/>
              <a:gd name="connsiteX13" fmla="*/ 675595 w 1068694"/>
              <a:gd name="connsiteY13" fmla="*/ 481061 h 1151054"/>
              <a:gd name="connsiteX14" fmla="*/ 530001 w 1068694"/>
              <a:gd name="connsiteY14" fmla="*/ 481061 h 1151054"/>
              <a:gd name="connsiteX15" fmla="*/ 158911 w 1068694"/>
              <a:gd name="connsiteY15" fmla="*/ 413925 h 1151054"/>
              <a:gd name="connsiteX16" fmla="*/ 158911 w 1068694"/>
              <a:gd name="connsiteY16" fmla="*/ 429690 h 1151054"/>
              <a:gd name="connsiteX0" fmla="*/ 221973 w 1038742"/>
              <a:gd name="connsiteY0" fmla="*/ 459827 h 1165425"/>
              <a:gd name="connsiteX1" fmla="*/ 24266 w 1038742"/>
              <a:gd name="connsiteY1" fmla="*/ 396981 h 1165425"/>
              <a:gd name="connsiteX2" fmla="*/ 24266 w 1038742"/>
              <a:gd name="connsiteY2" fmla="*/ 250801 h 1165425"/>
              <a:gd name="connsiteX3" fmla="*/ 169860 w 1038742"/>
              <a:gd name="connsiteY3" fmla="*/ 177711 h 1165425"/>
              <a:gd name="connsiteX4" fmla="*/ 315454 w 1038742"/>
              <a:gd name="connsiteY4" fmla="*/ 104621 h 1165425"/>
              <a:gd name="connsiteX5" fmla="*/ 426925 w 1038742"/>
              <a:gd name="connsiteY5" fmla="*/ 34158 h 1165425"/>
              <a:gd name="connsiteX6" fmla="*/ 606640 w 1038742"/>
              <a:gd name="connsiteY6" fmla="*/ 31531 h 1165425"/>
              <a:gd name="connsiteX7" fmla="*/ 978718 w 1038742"/>
              <a:gd name="connsiteY7" fmla="*/ 223344 h 1165425"/>
              <a:gd name="connsiteX8" fmla="*/ 966783 w 1038742"/>
              <a:gd name="connsiteY8" fmla="*/ 568522 h 1165425"/>
              <a:gd name="connsiteX9" fmla="*/ 821189 w 1038742"/>
              <a:gd name="connsiteY9" fmla="*/ 787793 h 1165425"/>
              <a:gd name="connsiteX10" fmla="*/ 748393 w 1038742"/>
              <a:gd name="connsiteY10" fmla="*/ 933973 h 1165425"/>
              <a:gd name="connsiteX11" fmla="*/ 457206 w 1038742"/>
              <a:gd name="connsiteY11" fmla="*/ 1153244 h 1165425"/>
              <a:gd name="connsiteX12" fmla="*/ 457206 w 1038742"/>
              <a:gd name="connsiteY12" fmla="*/ 1007062 h 1165425"/>
              <a:gd name="connsiteX13" fmla="*/ 748393 w 1038742"/>
              <a:gd name="connsiteY13" fmla="*/ 641612 h 1165425"/>
              <a:gd name="connsiteX14" fmla="*/ 675595 w 1038742"/>
              <a:gd name="connsiteY14" fmla="*/ 495432 h 1165425"/>
              <a:gd name="connsiteX15" fmla="*/ 530001 w 1038742"/>
              <a:gd name="connsiteY15" fmla="*/ 495432 h 1165425"/>
              <a:gd name="connsiteX16" fmla="*/ 158911 w 1038742"/>
              <a:gd name="connsiteY16" fmla="*/ 428296 h 1165425"/>
              <a:gd name="connsiteX17" fmla="*/ 158911 w 1038742"/>
              <a:gd name="connsiteY17" fmla="*/ 444061 h 1165425"/>
              <a:gd name="connsiteX0" fmla="*/ 221973 w 1038742"/>
              <a:gd name="connsiteY0" fmla="*/ 459827 h 1165425"/>
              <a:gd name="connsiteX1" fmla="*/ 24266 w 1038742"/>
              <a:gd name="connsiteY1" fmla="*/ 396981 h 1165425"/>
              <a:gd name="connsiteX2" fmla="*/ 24266 w 1038742"/>
              <a:gd name="connsiteY2" fmla="*/ 250801 h 1165425"/>
              <a:gd name="connsiteX3" fmla="*/ 169860 w 1038742"/>
              <a:gd name="connsiteY3" fmla="*/ 177711 h 1165425"/>
              <a:gd name="connsiteX4" fmla="*/ 315454 w 1038742"/>
              <a:gd name="connsiteY4" fmla="*/ 104621 h 1165425"/>
              <a:gd name="connsiteX5" fmla="*/ 426925 w 1038742"/>
              <a:gd name="connsiteY5" fmla="*/ 34158 h 1165425"/>
              <a:gd name="connsiteX6" fmla="*/ 606640 w 1038742"/>
              <a:gd name="connsiteY6" fmla="*/ 31531 h 1165425"/>
              <a:gd name="connsiteX7" fmla="*/ 978718 w 1038742"/>
              <a:gd name="connsiteY7" fmla="*/ 223344 h 1165425"/>
              <a:gd name="connsiteX8" fmla="*/ 966783 w 1038742"/>
              <a:gd name="connsiteY8" fmla="*/ 568522 h 1165425"/>
              <a:gd name="connsiteX9" fmla="*/ 821189 w 1038742"/>
              <a:gd name="connsiteY9" fmla="*/ 787793 h 1165425"/>
              <a:gd name="connsiteX10" fmla="*/ 748393 w 1038742"/>
              <a:gd name="connsiteY10" fmla="*/ 933973 h 1165425"/>
              <a:gd name="connsiteX11" fmla="*/ 457206 w 1038742"/>
              <a:gd name="connsiteY11" fmla="*/ 1153244 h 1165425"/>
              <a:gd name="connsiteX12" fmla="*/ 457206 w 1038742"/>
              <a:gd name="connsiteY12" fmla="*/ 1007062 h 1165425"/>
              <a:gd name="connsiteX13" fmla="*/ 748393 w 1038742"/>
              <a:gd name="connsiteY13" fmla="*/ 641612 h 1165425"/>
              <a:gd name="connsiteX14" fmla="*/ 675595 w 1038742"/>
              <a:gd name="connsiteY14" fmla="*/ 495432 h 1165425"/>
              <a:gd name="connsiteX15" fmla="*/ 530001 w 1038742"/>
              <a:gd name="connsiteY15" fmla="*/ 495432 h 1165425"/>
              <a:gd name="connsiteX16" fmla="*/ 158911 w 1038742"/>
              <a:gd name="connsiteY16" fmla="*/ 428296 h 1165425"/>
              <a:gd name="connsiteX17" fmla="*/ 158911 w 1038742"/>
              <a:gd name="connsiteY17" fmla="*/ 444061 h 1165425"/>
              <a:gd name="connsiteX0" fmla="*/ 221973 w 1038742"/>
              <a:gd name="connsiteY0" fmla="*/ 459827 h 1169652"/>
              <a:gd name="connsiteX1" fmla="*/ 24266 w 1038742"/>
              <a:gd name="connsiteY1" fmla="*/ 396981 h 1169652"/>
              <a:gd name="connsiteX2" fmla="*/ 24266 w 1038742"/>
              <a:gd name="connsiteY2" fmla="*/ 250801 h 1169652"/>
              <a:gd name="connsiteX3" fmla="*/ 169860 w 1038742"/>
              <a:gd name="connsiteY3" fmla="*/ 177711 h 1169652"/>
              <a:gd name="connsiteX4" fmla="*/ 315454 w 1038742"/>
              <a:gd name="connsiteY4" fmla="*/ 104621 h 1169652"/>
              <a:gd name="connsiteX5" fmla="*/ 426925 w 1038742"/>
              <a:gd name="connsiteY5" fmla="*/ 34158 h 1169652"/>
              <a:gd name="connsiteX6" fmla="*/ 606640 w 1038742"/>
              <a:gd name="connsiteY6" fmla="*/ 31531 h 1169652"/>
              <a:gd name="connsiteX7" fmla="*/ 978718 w 1038742"/>
              <a:gd name="connsiteY7" fmla="*/ 223344 h 1169652"/>
              <a:gd name="connsiteX8" fmla="*/ 966783 w 1038742"/>
              <a:gd name="connsiteY8" fmla="*/ 568522 h 1169652"/>
              <a:gd name="connsiteX9" fmla="*/ 821189 w 1038742"/>
              <a:gd name="connsiteY9" fmla="*/ 787793 h 1169652"/>
              <a:gd name="connsiteX10" fmla="*/ 679437 w 1038742"/>
              <a:gd name="connsiteY10" fmla="*/ 908612 h 1169652"/>
              <a:gd name="connsiteX11" fmla="*/ 457206 w 1038742"/>
              <a:gd name="connsiteY11" fmla="*/ 1153244 h 1169652"/>
              <a:gd name="connsiteX12" fmla="*/ 457206 w 1038742"/>
              <a:gd name="connsiteY12" fmla="*/ 1007062 h 1169652"/>
              <a:gd name="connsiteX13" fmla="*/ 748393 w 1038742"/>
              <a:gd name="connsiteY13" fmla="*/ 641612 h 1169652"/>
              <a:gd name="connsiteX14" fmla="*/ 675595 w 1038742"/>
              <a:gd name="connsiteY14" fmla="*/ 495432 h 1169652"/>
              <a:gd name="connsiteX15" fmla="*/ 530001 w 1038742"/>
              <a:gd name="connsiteY15" fmla="*/ 495432 h 1169652"/>
              <a:gd name="connsiteX16" fmla="*/ 158911 w 1038742"/>
              <a:gd name="connsiteY16" fmla="*/ 428296 h 1169652"/>
              <a:gd name="connsiteX17" fmla="*/ 158911 w 1038742"/>
              <a:gd name="connsiteY17" fmla="*/ 444061 h 1169652"/>
              <a:gd name="connsiteX0" fmla="*/ 221973 w 1038742"/>
              <a:gd name="connsiteY0" fmla="*/ 459827 h 1169652"/>
              <a:gd name="connsiteX1" fmla="*/ 24266 w 1038742"/>
              <a:gd name="connsiteY1" fmla="*/ 396981 h 1169652"/>
              <a:gd name="connsiteX2" fmla="*/ 24266 w 1038742"/>
              <a:gd name="connsiteY2" fmla="*/ 250801 h 1169652"/>
              <a:gd name="connsiteX3" fmla="*/ 169860 w 1038742"/>
              <a:gd name="connsiteY3" fmla="*/ 177711 h 1169652"/>
              <a:gd name="connsiteX4" fmla="*/ 315454 w 1038742"/>
              <a:gd name="connsiteY4" fmla="*/ 104621 h 1169652"/>
              <a:gd name="connsiteX5" fmla="*/ 426925 w 1038742"/>
              <a:gd name="connsiteY5" fmla="*/ 34158 h 1169652"/>
              <a:gd name="connsiteX6" fmla="*/ 606640 w 1038742"/>
              <a:gd name="connsiteY6" fmla="*/ 31531 h 1169652"/>
              <a:gd name="connsiteX7" fmla="*/ 978718 w 1038742"/>
              <a:gd name="connsiteY7" fmla="*/ 223344 h 1169652"/>
              <a:gd name="connsiteX8" fmla="*/ 966783 w 1038742"/>
              <a:gd name="connsiteY8" fmla="*/ 568522 h 1169652"/>
              <a:gd name="connsiteX9" fmla="*/ 821189 w 1038742"/>
              <a:gd name="connsiteY9" fmla="*/ 787793 h 1169652"/>
              <a:gd name="connsiteX10" fmla="*/ 679437 w 1038742"/>
              <a:gd name="connsiteY10" fmla="*/ 908612 h 1169652"/>
              <a:gd name="connsiteX11" fmla="*/ 457206 w 1038742"/>
              <a:gd name="connsiteY11" fmla="*/ 1153244 h 1169652"/>
              <a:gd name="connsiteX12" fmla="*/ 457206 w 1038742"/>
              <a:gd name="connsiteY12" fmla="*/ 1007062 h 1169652"/>
              <a:gd name="connsiteX13" fmla="*/ 748393 w 1038742"/>
              <a:gd name="connsiteY13" fmla="*/ 641612 h 1169652"/>
              <a:gd name="connsiteX14" fmla="*/ 675595 w 1038742"/>
              <a:gd name="connsiteY14" fmla="*/ 495432 h 1169652"/>
              <a:gd name="connsiteX15" fmla="*/ 530001 w 1038742"/>
              <a:gd name="connsiteY15" fmla="*/ 495432 h 1169652"/>
              <a:gd name="connsiteX16" fmla="*/ 158911 w 1038742"/>
              <a:gd name="connsiteY16" fmla="*/ 428296 h 1169652"/>
              <a:gd name="connsiteX17" fmla="*/ 158911 w 1038742"/>
              <a:gd name="connsiteY17" fmla="*/ 444061 h 1169652"/>
              <a:gd name="connsiteX0" fmla="*/ 221973 w 1038742"/>
              <a:gd name="connsiteY0" fmla="*/ 459827 h 1169652"/>
              <a:gd name="connsiteX1" fmla="*/ 24266 w 1038742"/>
              <a:gd name="connsiteY1" fmla="*/ 396981 h 1169652"/>
              <a:gd name="connsiteX2" fmla="*/ 24266 w 1038742"/>
              <a:gd name="connsiteY2" fmla="*/ 250801 h 1169652"/>
              <a:gd name="connsiteX3" fmla="*/ 169860 w 1038742"/>
              <a:gd name="connsiteY3" fmla="*/ 177711 h 1169652"/>
              <a:gd name="connsiteX4" fmla="*/ 315454 w 1038742"/>
              <a:gd name="connsiteY4" fmla="*/ 104621 h 1169652"/>
              <a:gd name="connsiteX5" fmla="*/ 426925 w 1038742"/>
              <a:gd name="connsiteY5" fmla="*/ 34158 h 1169652"/>
              <a:gd name="connsiteX6" fmla="*/ 606640 w 1038742"/>
              <a:gd name="connsiteY6" fmla="*/ 31531 h 1169652"/>
              <a:gd name="connsiteX7" fmla="*/ 978718 w 1038742"/>
              <a:gd name="connsiteY7" fmla="*/ 223344 h 1169652"/>
              <a:gd name="connsiteX8" fmla="*/ 966783 w 1038742"/>
              <a:gd name="connsiteY8" fmla="*/ 568522 h 1169652"/>
              <a:gd name="connsiteX9" fmla="*/ 821189 w 1038742"/>
              <a:gd name="connsiteY9" fmla="*/ 787793 h 1169652"/>
              <a:gd name="connsiteX10" fmla="*/ 679437 w 1038742"/>
              <a:gd name="connsiteY10" fmla="*/ 908612 h 1169652"/>
              <a:gd name="connsiteX11" fmla="*/ 457206 w 1038742"/>
              <a:gd name="connsiteY11" fmla="*/ 1153244 h 1169652"/>
              <a:gd name="connsiteX12" fmla="*/ 457206 w 1038742"/>
              <a:gd name="connsiteY12" fmla="*/ 1007062 h 1169652"/>
              <a:gd name="connsiteX13" fmla="*/ 748393 w 1038742"/>
              <a:gd name="connsiteY13" fmla="*/ 641612 h 1169652"/>
              <a:gd name="connsiteX14" fmla="*/ 675595 w 1038742"/>
              <a:gd name="connsiteY14" fmla="*/ 495432 h 1169652"/>
              <a:gd name="connsiteX15" fmla="*/ 530001 w 1038742"/>
              <a:gd name="connsiteY15" fmla="*/ 495432 h 1169652"/>
              <a:gd name="connsiteX16" fmla="*/ 158911 w 1038742"/>
              <a:gd name="connsiteY16" fmla="*/ 428296 h 1169652"/>
              <a:gd name="connsiteX17" fmla="*/ 158911 w 1038742"/>
              <a:gd name="connsiteY17" fmla="*/ 444061 h 1169652"/>
              <a:gd name="connsiteX0" fmla="*/ 221973 w 1038742"/>
              <a:gd name="connsiteY0" fmla="*/ 459827 h 1169652"/>
              <a:gd name="connsiteX1" fmla="*/ 24266 w 1038742"/>
              <a:gd name="connsiteY1" fmla="*/ 396981 h 1169652"/>
              <a:gd name="connsiteX2" fmla="*/ 24266 w 1038742"/>
              <a:gd name="connsiteY2" fmla="*/ 250801 h 1169652"/>
              <a:gd name="connsiteX3" fmla="*/ 169860 w 1038742"/>
              <a:gd name="connsiteY3" fmla="*/ 177711 h 1169652"/>
              <a:gd name="connsiteX4" fmla="*/ 315454 w 1038742"/>
              <a:gd name="connsiteY4" fmla="*/ 104621 h 1169652"/>
              <a:gd name="connsiteX5" fmla="*/ 426925 w 1038742"/>
              <a:gd name="connsiteY5" fmla="*/ 34158 h 1169652"/>
              <a:gd name="connsiteX6" fmla="*/ 606640 w 1038742"/>
              <a:gd name="connsiteY6" fmla="*/ 31531 h 1169652"/>
              <a:gd name="connsiteX7" fmla="*/ 978718 w 1038742"/>
              <a:gd name="connsiteY7" fmla="*/ 223344 h 1169652"/>
              <a:gd name="connsiteX8" fmla="*/ 966783 w 1038742"/>
              <a:gd name="connsiteY8" fmla="*/ 568522 h 1169652"/>
              <a:gd name="connsiteX9" fmla="*/ 821189 w 1038742"/>
              <a:gd name="connsiteY9" fmla="*/ 787793 h 1169652"/>
              <a:gd name="connsiteX10" fmla="*/ 752234 w 1038742"/>
              <a:gd name="connsiteY10" fmla="*/ 908612 h 1169652"/>
              <a:gd name="connsiteX11" fmla="*/ 457206 w 1038742"/>
              <a:gd name="connsiteY11" fmla="*/ 1153244 h 1169652"/>
              <a:gd name="connsiteX12" fmla="*/ 457206 w 1038742"/>
              <a:gd name="connsiteY12" fmla="*/ 1007062 h 1169652"/>
              <a:gd name="connsiteX13" fmla="*/ 748393 w 1038742"/>
              <a:gd name="connsiteY13" fmla="*/ 641612 h 1169652"/>
              <a:gd name="connsiteX14" fmla="*/ 675595 w 1038742"/>
              <a:gd name="connsiteY14" fmla="*/ 495432 h 1169652"/>
              <a:gd name="connsiteX15" fmla="*/ 530001 w 1038742"/>
              <a:gd name="connsiteY15" fmla="*/ 495432 h 1169652"/>
              <a:gd name="connsiteX16" fmla="*/ 158911 w 1038742"/>
              <a:gd name="connsiteY16" fmla="*/ 428296 h 1169652"/>
              <a:gd name="connsiteX17" fmla="*/ 158911 w 1038742"/>
              <a:gd name="connsiteY17" fmla="*/ 444061 h 1169652"/>
              <a:gd name="connsiteX0" fmla="*/ 221973 w 1038742"/>
              <a:gd name="connsiteY0" fmla="*/ 459827 h 1169652"/>
              <a:gd name="connsiteX1" fmla="*/ 24266 w 1038742"/>
              <a:gd name="connsiteY1" fmla="*/ 396981 h 1169652"/>
              <a:gd name="connsiteX2" fmla="*/ 24266 w 1038742"/>
              <a:gd name="connsiteY2" fmla="*/ 250801 h 1169652"/>
              <a:gd name="connsiteX3" fmla="*/ 169860 w 1038742"/>
              <a:gd name="connsiteY3" fmla="*/ 177711 h 1169652"/>
              <a:gd name="connsiteX4" fmla="*/ 315454 w 1038742"/>
              <a:gd name="connsiteY4" fmla="*/ 104621 h 1169652"/>
              <a:gd name="connsiteX5" fmla="*/ 426925 w 1038742"/>
              <a:gd name="connsiteY5" fmla="*/ 34158 h 1169652"/>
              <a:gd name="connsiteX6" fmla="*/ 606640 w 1038742"/>
              <a:gd name="connsiteY6" fmla="*/ 31531 h 1169652"/>
              <a:gd name="connsiteX7" fmla="*/ 978718 w 1038742"/>
              <a:gd name="connsiteY7" fmla="*/ 223344 h 1169652"/>
              <a:gd name="connsiteX8" fmla="*/ 966783 w 1038742"/>
              <a:gd name="connsiteY8" fmla="*/ 568522 h 1169652"/>
              <a:gd name="connsiteX9" fmla="*/ 821189 w 1038742"/>
              <a:gd name="connsiteY9" fmla="*/ 787793 h 1169652"/>
              <a:gd name="connsiteX10" fmla="*/ 752234 w 1038742"/>
              <a:gd name="connsiteY10" fmla="*/ 908612 h 1169652"/>
              <a:gd name="connsiteX11" fmla="*/ 457206 w 1038742"/>
              <a:gd name="connsiteY11" fmla="*/ 1153244 h 1169652"/>
              <a:gd name="connsiteX12" fmla="*/ 457206 w 1038742"/>
              <a:gd name="connsiteY12" fmla="*/ 1007062 h 1169652"/>
              <a:gd name="connsiteX13" fmla="*/ 748393 w 1038742"/>
              <a:gd name="connsiteY13" fmla="*/ 641612 h 1169652"/>
              <a:gd name="connsiteX14" fmla="*/ 675595 w 1038742"/>
              <a:gd name="connsiteY14" fmla="*/ 495432 h 1169652"/>
              <a:gd name="connsiteX15" fmla="*/ 530001 w 1038742"/>
              <a:gd name="connsiteY15" fmla="*/ 495432 h 1169652"/>
              <a:gd name="connsiteX16" fmla="*/ 158911 w 1038742"/>
              <a:gd name="connsiteY16" fmla="*/ 428296 h 1169652"/>
              <a:gd name="connsiteX17" fmla="*/ 158911 w 1038742"/>
              <a:gd name="connsiteY17" fmla="*/ 444061 h 1169652"/>
              <a:gd name="connsiteX0" fmla="*/ 221973 w 1038742"/>
              <a:gd name="connsiteY0" fmla="*/ 459827 h 1189789"/>
              <a:gd name="connsiteX1" fmla="*/ 24266 w 1038742"/>
              <a:gd name="connsiteY1" fmla="*/ 396981 h 1189789"/>
              <a:gd name="connsiteX2" fmla="*/ 24266 w 1038742"/>
              <a:gd name="connsiteY2" fmla="*/ 250801 h 1189789"/>
              <a:gd name="connsiteX3" fmla="*/ 169860 w 1038742"/>
              <a:gd name="connsiteY3" fmla="*/ 177711 h 1189789"/>
              <a:gd name="connsiteX4" fmla="*/ 315454 w 1038742"/>
              <a:gd name="connsiteY4" fmla="*/ 104621 h 1189789"/>
              <a:gd name="connsiteX5" fmla="*/ 426925 w 1038742"/>
              <a:gd name="connsiteY5" fmla="*/ 34158 h 1189789"/>
              <a:gd name="connsiteX6" fmla="*/ 606640 w 1038742"/>
              <a:gd name="connsiteY6" fmla="*/ 31531 h 1189789"/>
              <a:gd name="connsiteX7" fmla="*/ 978718 w 1038742"/>
              <a:gd name="connsiteY7" fmla="*/ 223344 h 1189789"/>
              <a:gd name="connsiteX8" fmla="*/ 966783 w 1038742"/>
              <a:gd name="connsiteY8" fmla="*/ 568522 h 1189789"/>
              <a:gd name="connsiteX9" fmla="*/ 821189 w 1038742"/>
              <a:gd name="connsiteY9" fmla="*/ 787793 h 1189789"/>
              <a:gd name="connsiteX10" fmla="*/ 457206 w 1038742"/>
              <a:gd name="connsiteY10" fmla="*/ 1153244 h 1189789"/>
              <a:gd name="connsiteX11" fmla="*/ 457206 w 1038742"/>
              <a:gd name="connsiteY11" fmla="*/ 1007062 h 1189789"/>
              <a:gd name="connsiteX12" fmla="*/ 748393 w 1038742"/>
              <a:gd name="connsiteY12" fmla="*/ 641612 h 1189789"/>
              <a:gd name="connsiteX13" fmla="*/ 675595 w 1038742"/>
              <a:gd name="connsiteY13" fmla="*/ 495432 h 1189789"/>
              <a:gd name="connsiteX14" fmla="*/ 530001 w 1038742"/>
              <a:gd name="connsiteY14" fmla="*/ 495432 h 1189789"/>
              <a:gd name="connsiteX15" fmla="*/ 158911 w 1038742"/>
              <a:gd name="connsiteY15" fmla="*/ 428296 h 1189789"/>
              <a:gd name="connsiteX16" fmla="*/ 158911 w 1038742"/>
              <a:gd name="connsiteY16" fmla="*/ 444061 h 1189789"/>
              <a:gd name="connsiteX0" fmla="*/ 221973 w 1045994"/>
              <a:gd name="connsiteY0" fmla="*/ 459827 h 1189789"/>
              <a:gd name="connsiteX1" fmla="*/ 24266 w 1045994"/>
              <a:gd name="connsiteY1" fmla="*/ 396981 h 1189789"/>
              <a:gd name="connsiteX2" fmla="*/ 24266 w 1045994"/>
              <a:gd name="connsiteY2" fmla="*/ 250801 h 1189789"/>
              <a:gd name="connsiteX3" fmla="*/ 169860 w 1045994"/>
              <a:gd name="connsiteY3" fmla="*/ 177711 h 1189789"/>
              <a:gd name="connsiteX4" fmla="*/ 315454 w 1045994"/>
              <a:gd name="connsiteY4" fmla="*/ 104621 h 1189789"/>
              <a:gd name="connsiteX5" fmla="*/ 426925 w 1045994"/>
              <a:gd name="connsiteY5" fmla="*/ 34158 h 1189789"/>
              <a:gd name="connsiteX6" fmla="*/ 606640 w 1045994"/>
              <a:gd name="connsiteY6" fmla="*/ 31531 h 1189789"/>
              <a:gd name="connsiteX7" fmla="*/ 978718 w 1045994"/>
              <a:gd name="connsiteY7" fmla="*/ 223344 h 1189789"/>
              <a:gd name="connsiteX8" fmla="*/ 1043421 w 1045994"/>
              <a:gd name="connsiteY8" fmla="*/ 470070 h 1189789"/>
              <a:gd name="connsiteX9" fmla="*/ 966783 w 1045994"/>
              <a:gd name="connsiteY9" fmla="*/ 568522 h 1189789"/>
              <a:gd name="connsiteX10" fmla="*/ 821189 w 1045994"/>
              <a:gd name="connsiteY10" fmla="*/ 787793 h 1189789"/>
              <a:gd name="connsiteX11" fmla="*/ 457206 w 1045994"/>
              <a:gd name="connsiteY11" fmla="*/ 1153244 h 1189789"/>
              <a:gd name="connsiteX12" fmla="*/ 457206 w 1045994"/>
              <a:gd name="connsiteY12" fmla="*/ 1007062 h 1189789"/>
              <a:gd name="connsiteX13" fmla="*/ 748393 w 1045994"/>
              <a:gd name="connsiteY13" fmla="*/ 641612 h 1189789"/>
              <a:gd name="connsiteX14" fmla="*/ 675595 w 1045994"/>
              <a:gd name="connsiteY14" fmla="*/ 495432 h 1189789"/>
              <a:gd name="connsiteX15" fmla="*/ 530001 w 1045994"/>
              <a:gd name="connsiteY15" fmla="*/ 495432 h 1189789"/>
              <a:gd name="connsiteX16" fmla="*/ 158911 w 1045994"/>
              <a:gd name="connsiteY16" fmla="*/ 428296 h 1189789"/>
              <a:gd name="connsiteX17" fmla="*/ 158911 w 1045994"/>
              <a:gd name="connsiteY17" fmla="*/ 444061 h 1189789"/>
              <a:gd name="connsiteX0" fmla="*/ 221973 w 1045994"/>
              <a:gd name="connsiteY0" fmla="*/ 440040 h 1170002"/>
              <a:gd name="connsiteX1" fmla="*/ 24266 w 1045994"/>
              <a:gd name="connsiteY1" fmla="*/ 377194 h 1170002"/>
              <a:gd name="connsiteX2" fmla="*/ 24266 w 1045994"/>
              <a:gd name="connsiteY2" fmla="*/ 231014 h 1170002"/>
              <a:gd name="connsiteX3" fmla="*/ 169860 w 1045994"/>
              <a:gd name="connsiteY3" fmla="*/ 157924 h 1170002"/>
              <a:gd name="connsiteX4" fmla="*/ 315454 w 1045994"/>
              <a:gd name="connsiteY4" fmla="*/ 84834 h 1170002"/>
              <a:gd name="connsiteX5" fmla="*/ 426925 w 1045994"/>
              <a:gd name="connsiteY5" fmla="*/ 14371 h 1170002"/>
              <a:gd name="connsiteX6" fmla="*/ 606640 w 1045994"/>
              <a:gd name="connsiteY6" fmla="*/ 11744 h 1170002"/>
              <a:gd name="connsiteX7" fmla="*/ 897828 w 1045994"/>
              <a:gd name="connsiteY7" fmla="*/ 84833 h 1170002"/>
              <a:gd name="connsiteX8" fmla="*/ 978718 w 1045994"/>
              <a:gd name="connsiteY8" fmla="*/ 203557 h 1170002"/>
              <a:gd name="connsiteX9" fmla="*/ 1043421 w 1045994"/>
              <a:gd name="connsiteY9" fmla="*/ 450283 h 1170002"/>
              <a:gd name="connsiteX10" fmla="*/ 966783 w 1045994"/>
              <a:gd name="connsiteY10" fmla="*/ 548735 h 1170002"/>
              <a:gd name="connsiteX11" fmla="*/ 821189 w 1045994"/>
              <a:gd name="connsiteY11" fmla="*/ 768006 h 1170002"/>
              <a:gd name="connsiteX12" fmla="*/ 457206 w 1045994"/>
              <a:gd name="connsiteY12" fmla="*/ 1133457 h 1170002"/>
              <a:gd name="connsiteX13" fmla="*/ 457206 w 1045994"/>
              <a:gd name="connsiteY13" fmla="*/ 987275 h 1170002"/>
              <a:gd name="connsiteX14" fmla="*/ 748393 w 1045994"/>
              <a:gd name="connsiteY14" fmla="*/ 621825 h 1170002"/>
              <a:gd name="connsiteX15" fmla="*/ 675595 w 1045994"/>
              <a:gd name="connsiteY15" fmla="*/ 475645 h 1170002"/>
              <a:gd name="connsiteX16" fmla="*/ 530001 w 1045994"/>
              <a:gd name="connsiteY16" fmla="*/ 475645 h 1170002"/>
              <a:gd name="connsiteX17" fmla="*/ 158911 w 1045994"/>
              <a:gd name="connsiteY17" fmla="*/ 408509 h 1170002"/>
              <a:gd name="connsiteX18" fmla="*/ 158911 w 1045994"/>
              <a:gd name="connsiteY18" fmla="*/ 424274 h 1170002"/>
              <a:gd name="connsiteX0" fmla="*/ 221973 w 1045994"/>
              <a:gd name="connsiteY0" fmla="*/ 440040 h 1170002"/>
              <a:gd name="connsiteX1" fmla="*/ 24266 w 1045994"/>
              <a:gd name="connsiteY1" fmla="*/ 377194 h 1170002"/>
              <a:gd name="connsiteX2" fmla="*/ 24266 w 1045994"/>
              <a:gd name="connsiteY2" fmla="*/ 231014 h 1170002"/>
              <a:gd name="connsiteX3" fmla="*/ 169860 w 1045994"/>
              <a:gd name="connsiteY3" fmla="*/ 157924 h 1170002"/>
              <a:gd name="connsiteX4" fmla="*/ 315454 w 1045994"/>
              <a:gd name="connsiteY4" fmla="*/ 84834 h 1170002"/>
              <a:gd name="connsiteX5" fmla="*/ 426925 w 1045994"/>
              <a:gd name="connsiteY5" fmla="*/ 14371 h 1170002"/>
              <a:gd name="connsiteX6" fmla="*/ 606640 w 1045994"/>
              <a:gd name="connsiteY6" fmla="*/ 11744 h 1170002"/>
              <a:gd name="connsiteX7" fmla="*/ 897828 w 1045994"/>
              <a:gd name="connsiteY7" fmla="*/ 84833 h 1170002"/>
              <a:gd name="connsiteX8" fmla="*/ 978718 w 1045994"/>
              <a:gd name="connsiteY8" fmla="*/ 203557 h 1170002"/>
              <a:gd name="connsiteX9" fmla="*/ 1043421 w 1045994"/>
              <a:gd name="connsiteY9" fmla="*/ 450283 h 1170002"/>
              <a:gd name="connsiteX10" fmla="*/ 966783 w 1045994"/>
              <a:gd name="connsiteY10" fmla="*/ 548735 h 1170002"/>
              <a:gd name="connsiteX11" fmla="*/ 821189 w 1045994"/>
              <a:gd name="connsiteY11" fmla="*/ 768006 h 1170002"/>
              <a:gd name="connsiteX12" fmla="*/ 457206 w 1045994"/>
              <a:gd name="connsiteY12" fmla="*/ 1133457 h 1170002"/>
              <a:gd name="connsiteX13" fmla="*/ 457206 w 1045994"/>
              <a:gd name="connsiteY13" fmla="*/ 987275 h 1170002"/>
              <a:gd name="connsiteX14" fmla="*/ 748393 w 1045994"/>
              <a:gd name="connsiteY14" fmla="*/ 621825 h 1170002"/>
              <a:gd name="connsiteX15" fmla="*/ 675595 w 1045994"/>
              <a:gd name="connsiteY15" fmla="*/ 475645 h 1170002"/>
              <a:gd name="connsiteX16" fmla="*/ 530001 w 1045994"/>
              <a:gd name="connsiteY16" fmla="*/ 475645 h 1170002"/>
              <a:gd name="connsiteX17" fmla="*/ 158911 w 1045994"/>
              <a:gd name="connsiteY17" fmla="*/ 408509 h 1170002"/>
              <a:gd name="connsiteX18" fmla="*/ 169860 w 1045994"/>
              <a:gd name="connsiteY18" fmla="*/ 523374 h 1170002"/>
              <a:gd name="connsiteX0" fmla="*/ 221973 w 1045994"/>
              <a:gd name="connsiteY0" fmla="*/ 440040 h 1170002"/>
              <a:gd name="connsiteX1" fmla="*/ 24266 w 1045994"/>
              <a:gd name="connsiteY1" fmla="*/ 377194 h 1170002"/>
              <a:gd name="connsiteX2" fmla="*/ 24266 w 1045994"/>
              <a:gd name="connsiteY2" fmla="*/ 231014 h 1170002"/>
              <a:gd name="connsiteX3" fmla="*/ 169860 w 1045994"/>
              <a:gd name="connsiteY3" fmla="*/ 157924 h 1170002"/>
              <a:gd name="connsiteX4" fmla="*/ 315454 w 1045994"/>
              <a:gd name="connsiteY4" fmla="*/ 84834 h 1170002"/>
              <a:gd name="connsiteX5" fmla="*/ 426925 w 1045994"/>
              <a:gd name="connsiteY5" fmla="*/ 14371 h 1170002"/>
              <a:gd name="connsiteX6" fmla="*/ 606640 w 1045994"/>
              <a:gd name="connsiteY6" fmla="*/ 11744 h 1170002"/>
              <a:gd name="connsiteX7" fmla="*/ 897828 w 1045994"/>
              <a:gd name="connsiteY7" fmla="*/ 84833 h 1170002"/>
              <a:gd name="connsiteX8" fmla="*/ 978718 w 1045994"/>
              <a:gd name="connsiteY8" fmla="*/ 203557 h 1170002"/>
              <a:gd name="connsiteX9" fmla="*/ 1043421 w 1045994"/>
              <a:gd name="connsiteY9" fmla="*/ 450283 h 1170002"/>
              <a:gd name="connsiteX10" fmla="*/ 966783 w 1045994"/>
              <a:gd name="connsiteY10" fmla="*/ 548735 h 1170002"/>
              <a:gd name="connsiteX11" fmla="*/ 821189 w 1045994"/>
              <a:gd name="connsiteY11" fmla="*/ 768006 h 1170002"/>
              <a:gd name="connsiteX12" fmla="*/ 457206 w 1045994"/>
              <a:gd name="connsiteY12" fmla="*/ 1133457 h 1170002"/>
              <a:gd name="connsiteX13" fmla="*/ 457206 w 1045994"/>
              <a:gd name="connsiteY13" fmla="*/ 987275 h 1170002"/>
              <a:gd name="connsiteX14" fmla="*/ 748393 w 1045994"/>
              <a:gd name="connsiteY14" fmla="*/ 621825 h 1170002"/>
              <a:gd name="connsiteX15" fmla="*/ 675595 w 1045994"/>
              <a:gd name="connsiteY15" fmla="*/ 475645 h 1170002"/>
              <a:gd name="connsiteX16" fmla="*/ 530001 w 1045994"/>
              <a:gd name="connsiteY16" fmla="*/ 475645 h 1170002"/>
              <a:gd name="connsiteX17" fmla="*/ 158911 w 1045994"/>
              <a:gd name="connsiteY17" fmla="*/ 408509 h 1170002"/>
              <a:gd name="connsiteX0" fmla="*/ 169860 w 1045994"/>
              <a:gd name="connsiteY0" fmla="*/ 377193 h 1170002"/>
              <a:gd name="connsiteX1" fmla="*/ 24266 w 1045994"/>
              <a:gd name="connsiteY1" fmla="*/ 377194 h 1170002"/>
              <a:gd name="connsiteX2" fmla="*/ 24266 w 1045994"/>
              <a:gd name="connsiteY2" fmla="*/ 231014 h 1170002"/>
              <a:gd name="connsiteX3" fmla="*/ 169860 w 1045994"/>
              <a:gd name="connsiteY3" fmla="*/ 157924 h 1170002"/>
              <a:gd name="connsiteX4" fmla="*/ 315454 w 1045994"/>
              <a:gd name="connsiteY4" fmla="*/ 84834 h 1170002"/>
              <a:gd name="connsiteX5" fmla="*/ 426925 w 1045994"/>
              <a:gd name="connsiteY5" fmla="*/ 14371 h 1170002"/>
              <a:gd name="connsiteX6" fmla="*/ 606640 w 1045994"/>
              <a:gd name="connsiteY6" fmla="*/ 11744 h 1170002"/>
              <a:gd name="connsiteX7" fmla="*/ 897828 w 1045994"/>
              <a:gd name="connsiteY7" fmla="*/ 84833 h 1170002"/>
              <a:gd name="connsiteX8" fmla="*/ 978718 w 1045994"/>
              <a:gd name="connsiteY8" fmla="*/ 203557 h 1170002"/>
              <a:gd name="connsiteX9" fmla="*/ 1043421 w 1045994"/>
              <a:gd name="connsiteY9" fmla="*/ 450283 h 1170002"/>
              <a:gd name="connsiteX10" fmla="*/ 966783 w 1045994"/>
              <a:gd name="connsiteY10" fmla="*/ 548735 h 1170002"/>
              <a:gd name="connsiteX11" fmla="*/ 821189 w 1045994"/>
              <a:gd name="connsiteY11" fmla="*/ 768006 h 1170002"/>
              <a:gd name="connsiteX12" fmla="*/ 457206 w 1045994"/>
              <a:gd name="connsiteY12" fmla="*/ 1133457 h 1170002"/>
              <a:gd name="connsiteX13" fmla="*/ 457206 w 1045994"/>
              <a:gd name="connsiteY13" fmla="*/ 987275 h 1170002"/>
              <a:gd name="connsiteX14" fmla="*/ 748393 w 1045994"/>
              <a:gd name="connsiteY14" fmla="*/ 621825 h 1170002"/>
              <a:gd name="connsiteX15" fmla="*/ 675595 w 1045994"/>
              <a:gd name="connsiteY15" fmla="*/ 475645 h 1170002"/>
              <a:gd name="connsiteX16" fmla="*/ 530001 w 1045994"/>
              <a:gd name="connsiteY16" fmla="*/ 475645 h 1170002"/>
              <a:gd name="connsiteX17" fmla="*/ 158911 w 1045994"/>
              <a:gd name="connsiteY17" fmla="*/ 408509 h 1170002"/>
              <a:gd name="connsiteX0" fmla="*/ 169860 w 1045994"/>
              <a:gd name="connsiteY0" fmla="*/ 377193 h 1170002"/>
              <a:gd name="connsiteX1" fmla="*/ 169860 w 1045994"/>
              <a:gd name="connsiteY1" fmla="*/ 377193 h 1170002"/>
              <a:gd name="connsiteX2" fmla="*/ 24266 w 1045994"/>
              <a:gd name="connsiteY2" fmla="*/ 377194 h 1170002"/>
              <a:gd name="connsiteX3" fmla="*/ 24266 w 1045994"/>
              <a:gd name="connsiteY3" fmla="*/ 231014 h 1170002"/>
              <a:gd name="connsiteX4" fmla="*/ 169860 w 1045994"/>
              <a:gd name="connsiteY4" fmla="*/ 157924 h 1170002"/>
              <a:gd name="connsiteX5" fmla="*/ 315454 w 1045994"/>
              <a:gd name="connsiteY5" fmla="*/ 84834 h 1170002"/>
              <a:gd name="connsiteX6" fmla="*/ 426925 w 1045994"/>
              <a:gd name="connsiteY6" fmla="*/ 14371 h 1170002"/>
              <a:gd name="connsiteX7" fmla="*/ 606640 w 1045994"/>
              <a:gd name="connsiteY7" fmla="*/ 11744 h 1170002"/>
              <a:gd name="connsiteX8" fmla="*/ 897828 w 1045994"/>
              <a:gd name="connsiteY8" fmla="*/ 84833 h 1170002"/>
              <a:gd name="connsiteX9" fmla="*/ 978718 w 1045994"/>
              <a:gd name="connsiteY9" fmla="*/ 203557 h 1170002"/>
              <a:gd name="connsiteX10" fmla="*/ 1043421 w 1045994"/>
              <a:gd name="connsiteY10" fmla="*/ 450283 h 1170002"/>
              <a:gd name="connsiteX11" fmla="*/ 966783 w 1045994"/>
              <a:gd name="connsiteY11" fmla="*/ 548735 h 1170002"/>
              <a:gd name="connsiteX12" fmla="*/ 821189 w 1045994"/>
              <a:gd name="connsiteY12" fmla="*/ 768006 h 1170002"/>
              <a:gd name="connsiteX13" fmla="*/ 457206 w 1045994"/>
              <a:gd name="connsiteY13" fmla="*/ 1133457 h 1170002"/>
              <a:gd name="connsiteX14" fmla="*/ 457206 w 1045994"/>
              <a:gd name="connsiteY14" fmla="*/ 987275 h 1170002"/>
              <a:gd name="connsiteX15" fmla="*/ 748393 w 1045994"/>
              <a:gd name="connsiteY15" fmla="*/ 621825 h 1170002"/>
              <a:gd name="connsiteX16" fmla="*/ 675595 w 1045994"/>
              <a:gd name="connsiteY16" fmla="*/ 475645 h 1170002"/>
              <a:gd name="connsiteX17" fmla="*/ 530001 w 1045994"/>
              <a:gd name="connsiteY17" fmla="*/ 475645 h 1170002"/>
              <a:gd name="connsiteX18" fmla="*/ 158911 w 1045994"/>
              <a:gd name="connsiteY18" fmla="*/ 408509 h 1170002"/>
              <a:gd name="connsiteX0" fmla="*/ 169860 w 1045994"/>
              <a:gd name="connsiteY0" fmla="*/ 377193 h 1170002"/>
              <a:gd name="connsiteX1" fmla="*/ 169860 w 1045994"/>
              <a:gd name="connsiteY1" fmla="*/ 377193 h 1170002"/>
              <a:gd name="connsiteX2" fmla="*/ 24266 w 1045994"/>
              <a:gd name="connsiteY2" fmla="*/ 377194 h 1170002"/>
              <a:gd name="connsiteX3" fmla="*/ 24266 w 1045994"/>
              <a:gd name="connsiteY3" fmla="*/ 231014 h 1170002"/>
              <a:gd name="connsiteX4" fmla="*/ 169860 w 1045994"/>
              <a:gd name="connsiteY4" fmla="*/ 157924 h 1170002"/>
              <a:gd name="connsiteX5" fmla="*/ 315454 w 1045994"/>
              <a:gd name="connsiteY5" fmla="*/ 84834 h 1170002"/>
              <a:gd name="connsiteX6" fmla="*/ 426925 w 1045994"/>
              <a:gd name="connsiteY6" fmla="*/ 14371 h 1170002"/>
              <a:gd name="connsiteX7" fmla="*/ 606640 w 1045994"/>
              <a:gd name="connsiteY7" fmla="*/ 11744 h 1170002"/>
              <a:gd name="connsiteX8" fmla="*/ 897828 w 1045994"/>
              <a:gd name="connsiteY8" fmla="*/ 84833 h 1170002"/>
              <a:gd name="connsiteX9" fmla="*/ 978718 w 1045994"/>
              <a:gd name="connsiteY9" fmla="*/ 203557 h 1170002"/>
              <a:gd name="connsiteX10" fmla="*/ 1043421 w 1045994"/>
              <a:gd name="connsiteY10" fmla="*/ 450283 h 1170002"/>
              <a:gd name="connsiteX11" fmla="*/ 966783 w 1045994"/>
              <a:gd name="connsiteY11" fmla="*/ 548735 h 1170002"/>
              <a:gd name="connsiteX12" fmla="*/ 821189 w 1045994"/>
              <a:gd name="connsiteY12" fmla="*/ 768006 h 1170002"/>
              <a:gd name="connsiteX13" fmla="*/ 457206 w 1045994"/>
              <a:gd name="connsiteY13" fmla="*/ 1133457 h 1170002"/>
              <a:gd name="connsiteX14" fmla="*/ 457206 w 1045994"/>
              <a:gd name="connsiteY14" fmla="*/ 987275 h 1170002"/>
              <a:gd name="connsiteX15" fmla="*/ 748393 w 1045994"/>
              <a:gd name="connsiteY15" fmla="*/ 621825 h 1170002"/>
              <a:gd name="connsiteX16" fmla="*/ 675595 w 1045994"/>
              <a:gd name="connsiteY16" fmla="*/ 475645 h 1170002"/>
              <a:gd name="connsiteX17" fmla="*/ 530001 w 1045994"/>
              <a:gd name="connsiteY17" fmla="*/ 475645 h 1170002"/>
              <a:gd name="connsiteX18" fmla="*/ 158911 w 1045994"/>
              <a:gd name="connsiteY18" fmla="*/ 408509 h 1170002"/>
              <a:gd name="connsiteX19" fmla="*/ 169860 w 1045994"/>
              <a:gd name="connsiteY19" fmla="*/ 377193 h 1170002"/>
              <a:gd name="connsiteX0" fmla="*/ 97064 w 1045994"/>
              <a:gd name="connsiteY0" fmla="*/ 450283 h 1170002"/>
              <a:gd name="connsiteX1" fmla="*/ 169860 w 1045994"/>
              <a:gd name="connsiteY1" fmla="*/ 377193 h 1170002"/>
              <a:gd name="connsiteX2" fmla="*/ 24266 w 1045994"/>
              <a:gd name="connsiteY2" fmla="*/ 377194 h 1170002"/>
              <a:gd name="connsiteX3" fmla="*/ 24266 w 1045994"/>
              <a:gd name="connsiteY3" fmla="*/ 231014 h 1170002"/>
              <a:gd name="connsiteX4" fmla="*/ 169860 w 1045994"/>
              <a:gd name="connsiteY4" fmla="*/ 157924 h 1170002"/>
              <a:gd name="connsiteX5" fmla="*/ 315454 w 1045994"/>
              <a:gd name="connsiteY5" fmla="*/ 84834 h 1170002"/>
              <a:gd name="connsiteX6" fmla="*/ 426925 w 1045994"/>
              <a:gd name="connsiteY6" fmla="*/ 14371 h 1170002"/>
              <a:gd name="connsiteX7" fmla="*/ 606640 w 1045994"/>
              <a:gd name="connsiteY7" fmla="*/ 11744 h 1170002"/>
              <a:gd name="connsiteX8" fmla="*/ 897828 w 1045994"/>
              <a:gd name="connsiteY8" fmla="*/ 84833 h 1170002"/>
              <a:gd name="connsiteX9" fmla="*/ 978718 w 1045994"/>
              <a:gd name="connsiteY9" fmla="*/ 203557 h 1170002"/>
              <a:gd name="connsiteX10" fmla="*/ 1043421 w 1045994"/>
              <a:gd name="connsiteY10" fmla="*/ 450283 h 1170002"/>
              <a:gd name="connsiteX11" fmla="*/ 966783 w 1045994"/>
              <a:gd name="connsiteY11" fmla="*/ 548735 h 1170002"/>
              <a:gd name="connsiteX12" fmla="*/ 821189 w 1045994"/>
              <a:gd name="connsiteY12" fmla="*/ 768006 h 1170002"/>
              <a:gd name="connsiteX13" fmla="*/ 457206 w 1045994"/>
              <a:gd name="connsiteY13" fmla="*/ 1133457 h 1170002"/>
              <a:gd name="connsiteX14" fmla="*/ 457206 w 1045994"/>
              <a:gd name="connsiteY14" fmla="*/ 987275 h 1170002"/>
              <a:gd name="connsiteX15" fmla="*/ 748393 w 1045994"/>
              <a:gd name="connsiteY15" fmla="*/ 621825 h 1170002"/>
              <a:gd name="connsiteX16" fmla="*/ 675595 w 1045994"/>
              <a:gd name="connsiteY16" fmla="*/ 475645 h 1170002"/>
              <a:gd name="connsiteX17" fmla="*/ 530001 w 1045994"/>
              <a:gd name="connsiteY17" fmla="*/ 475645 h 1170002"/>
              <a:gd name="connsiteX18" fmla="*/ 158911 w 1045994"/>
              <a:gd name="connsiteY18" fmla="*/ 408509 h 1170002"/>
              <a:gd name="connsiteX19" fmla="*/ 97064 w 1045994"/>
              <a:gd name="connsiteY19" fmla="*/ 450283 h 1170002"/>
              <a:gd name="connsiteX0" fmla="*/ 97064 w 1045994"/>
              <a:gd name="connsiteY0" fmla="*/ 450283 h 1170002"/>
              <a:gd name="connsiteX1" fmla="*/ 97064 w 1045994"/>
              <a:gd name="connsiteY1" fmla="*/ 450283 h 1170002"/>
              <a:gd name="connsiteX2" fmla="*/ 24266 w 1045994"/>
              <a:gd name="connsiteY2" fmla="*/ 377194 h 1170002"/>
              <a:gd name="connsiteX3" fmla="*/ 24266 w 1045994"/>
              <a:gd name="connsiteY3" fmla="*/ 231014 h 1170002"/>
              <a:gd name="connsiteX4" fmla="*/ 169860 w 1045994"/>
              <a:gd name="connsiteY4" fmla="*/ 157924 h 1170002"/>
              <a:gd name="connsiteX5" fmla="*/ 315454 w 1045994"/>
              <a:gd name="connsiteY5" fmla="*/ 84834 h 1170002"/>
              <a:gd name="connsiteX6" fmla="*/ 426925 w 1045994"/>
              <a:gd name="connsiteY6" fmla="*/ 14371 h 1170002"/>
              <a:gd name="connsiteX7" fmla="*/ 606640 w 1045994"/>
              <a:gd name="connsiteY7" fmla="*/ 11744 h 1170002"/>
              <a:gd name="connsiteX8" fmla="*/ 897828 w 1045994"/>
              <a:gd name="connsiteY8" fmla="*/ 84833 h 1170002"/>
              <a:gd name="connsiteX9" fmla="*/ 978718 w 1045994"/>
              <a:gd name="connsiteY9" fmla="*/ 203557 h 1170002"/>
              <a:gd name="connsiteX10" fmla="*/ 1043421 w 1045994"/>
              <a:gd name="connsiteY10" fmla="*/ 450283 h 1170002"/>
              <a:gd name="connsiteX11" fmla="*/ 966783 w 1045994"/>
              <a:gd name="connsiteY11" fmla="*/ 548735 h 1170002"/>
              <a:gd name="connsiteX12" fmla="*/ 821189 w 1045994"/>
              <a:gd name="connsiteY12" fmla="*/ 768006 h 1170002"/>
              <a:gd name="connsiteX13" fmla="*/ 457206 w 1045994"/>
              <a:gd name="connsiteY13" fmla="*/ 1133457 h 1170002"/>
              <a:gd name="connsiteX14" fmla="*/ 457206 w 1045994"/>
              <a:gd name="connsiteY14" fmla="*/ 987275 h 1170002"/>
              <a:gd name="connsiteX15" fmla="*/ 748393 w 1045994"/>
              <a:gd name="connsiteY15" fmla="*/ 621825 h 1170002"/>
              <a:gd name="connsiteX16" fmla="*/ 675595 w 1045994"/>
              <a:gd name="connsiteY16" fmla="*/ 475645 h 1170002"/>
              <a:gd name="connsiteX17" fmla="*/ 530001 w 1045994"/>
              <a:gd name="connsiteY17" fmla="*/ 475645 h 1170002"/>
              <a:gd name="connsiteX18" fmla="*/ 158911 w 1045994"/>
              <a:gd name="connsiteY18" fmla="*/ 408509 h 1170002"/>
              <a:gd name="connsiteX19" fmla="*/ 97064 w 1045994"/>
              <a:gd name="connsiteY19" fmla="*/ 450283 h 1170002"/>
              <a:gd name="connsiteX0" fmla="*/ 97064 w 1045994"/>
              <a:gd name="connsiteY0" fmla="*/ 450283 h 1170002"/>
              <a:gd name="connsiteX1" fmla="*/ 97064 w 1045994"/>
              <a:gd name="connsiteY1" fmla="*/ 450283 h 1170002"/>
              <a:gd name="connsiteX2" fmla="*/ 24266 w 1045994"/>
              <a:gd name="connsiteY2" fmla="*/ 377194 h 1170002"/>
              <a:gd name="connsiteX3" fmla="*/ 24266 w 1045994"/>
              <a:gd name="connsiteY3" fmla="*/ 231014 h 1170002"/>
              <a:gd name="connsiteX4" fmla="*/ 169860 w 1045994"/>
              <a:gd name="connsiteY4" fmla="*/ 157924 h 1170002"/>
              <a:gd name="connsiteX5" fmla="*/ 315454 w 1045994"/>
              <a:gd name="connsiteY5" fmla="*/ 84834 h 1170002"/>
              <a:gd name="connsiteX6" fmla="*/ 426925 w 1045994"/>
              <a:gd name="connsiteY6" fmla="*/ 14371 h 1170002"/>
              <a:gd name="connsiteX7" fmla="*/ 606640 w 1045994"/>
              <a:gd name="connsiteY7" fmla="*/ 11744 h 1170002"/>
              <a:gd name="connsiteX8" fmla="*/ 897828 w 1045994"/>
              <a:gd name="connsiteY8" fmla="*/ 84833 h 1170002"/>
              <a:gd name="connsiteX9" fmla="*/ 978718 w 1045994"/>
              <a:gd name="connsiteY9" fmla="*/ 203557 h 1170002"/>
              <a:gd name="connsiteX10" fmla="*/ 1043421 w 1045994"/>
              <a:gd name="connsiteY10" fmla="*/ 450283 h 1170002"/>
              <a:gd name="connsiteX11" fmla="*/ 966783 w 1045994"/>
              <a:gd name="connsiteY11" fmla="*/ 548735 h 1170002"/>
              <a:gd name="connsiteX12" fmla="*/ 821189 w 1045994"/>
              <a:gd name="connsiteY12" fmla="*/ 768006 h 1170002"/>
              <a:gd name="connsiteX13" fmla="*/ 457206 w 1045994"/>
              <a:gd name="connsiteY13" fmla="*/ 1133457 h 1170002"/>
              <a:gd name="connsiteX14" fmla="*/ 457206 w 1045994"/>
              <a:gd name="connsiteY14" fmla="*/ 987275 h 1170002"/>
              <a:gd name="connsiteX15" fmla="*/ 748393 w 1045994"/>
              <a:gd name="connsiteY15" fmla="*/ 621825 h 1170002"/>
              <a:gd name="connsiteX16" fmla="*/ 675595 w 1045994"/>
              <a:gd name="connsiteY16" fmla="*/ 475645 h 1170002"/>
              <a:gd name="connsiteX17" fmla="*/ 530001 w 1045994"/>
              <a:gd name="connsiteY17" fmla="*/ 475645 h 1170002"/>
              <a:gd name="connsiteX18" fmla="*/ 169860 w 1045994"/>
              <a:gd name="connsiteY18" fmla="*/ 523374 h 1170002"/>
              <a:gd name="connsiteX19" fmla="*/ 97064 w 1045994"/>
              <a:gd name="connsiteY19" fmla="*/ 450283 h 1170002"/>
              <a:gd name="connsiteX0" fmla="*/ 97064 w 1045994"/>
              <a:gd name="connsiteY0" fmla="*/ 450283 h 1170002"/>
              <a:gd name="connsiteX1" fmla="*/ 97064 w 1045994"/>
              <a:gd name="connsiteY1" fmla="*/ 450283 h 1170002"/>
              <a:gd name="connsiteX2" fmla="*/ 24266 w 1045994"/>
              <a:gd name="connsiteY2" fmla="*/ 377194 h 1170002"/>
              <a:gd name="connsiteX3" fmla="*/ 24266 w 1045994"/>
              <a:gd name="connsiteY3" fmla="*/ 231014 h 1170002"/>
              <a:gd name="connsiteX4" fmla="*/ 169860 w 1045994"/>
              <a:gd name="connsiteY4" fmla="*/ 157924 h 1170002"/>
              <a:gd name="connsiteX5" fmla="*/ 315454 w 1045994"/>
              <a:gd name="connsiteY5" fmla="*/ 84834 h 1170002"/>
              <a:gd name="connsiteX6" fmla="*/ 426925 w 1045994"/>
              <a:gd name="connsiteY6" fmla="*/ 14371 h 1170002"/>
              <a:gd name="connsiteX7" fmla="*/ 606640 w 1045994"/>
              <a:gd name="connsiteY7" fmla="*/ 11744 h 1170002"/>
              <a:gd name="connsiteX8" fmla="*/ 897828 w 1045994"/>
              <a:gd name="connsiteY8" fmla="*/ 84833 h 1170002"/>
              <a:gd name="connsiteX9" fmla="*/ 978718 w 1045994"/>
              <a:gd name="connsiteY9" fmla="*/ 203557 h 1170002"/>
              <a:gd name="connsiteX10" fmla="*/ 1043421 w 1045994"/>
              <a:gd name="connsiteY10" fmla="*/ 450283 h 1170002"/>
              <a:gd name="connsiteX11" fmla="*/ 966783 w 1045994"/>
              <a:gd name="connsiteY11" fmla="*/ 548735 h 1170002"/>
              <a:gd name="connsiteX12" fmla="*/ 821189 w 1045994"/>
              <a:gd name="connsiteY12" fmla="*/ 768006 h 1170002"/>
              <a:gd name="connsiteX13" fmla="*/ 457206 w 1045994"/>
              <a:gd name="connsiteY13" fmla="*/ 1133457 h 1170002"/>
              <a:gd name="connsiteX14" fmla="*/ 457206 w 1045994"/>
              <a:gd name="connsiteY14" fmla="*/ 987275 h 1170002"/>
              <a:gd name="connsiteX15" fmla="*/ 748393 w 1045994"/>
              <a:gd name="connsiteY15" fmla="*/ 621825 h 1170002"/>
              <a:gd name="connsiteX16" fmla="*/ 675595 w 1045994"/>
              <a:gd name="connsiteY16" fmla="*/ 475645 h 1170002"/>
              <a:gd name="connsiteX17" fmla="*/ 533844 w 1045994"/>
              <a:gd name="connsiteY17" fmla="*/ 450283 h 1170002"/>
              <a:gd name="connsiteX18" fmla="*/ 169860 w 1045994"/>
              <a:gd name="connsiteY18" fmla="*/ 523374 h 1170002"/>
              <a:gd name="connsiteX19" fmla="*/ 97064 w 1045994"/>
              <a:gd name="connsiteY19" fmla="*/ 450283 h 1170002"/>
              <a:gd name="connsiteX0" fmla="*/ 97064 w 1045994"/>
              <a:gd name="connsiteY0" fmla="*/ 450283 h 1170002"/>
              <a:gd name="connsiteX1" fmla="*/ 97064 w 1045994"/>
              <a:gd name="connsiteY1" fmla="*/ 450283 h 1170002"/>
              <a:gd name="connsiteX2" fmla="*/ 24266 w 1045994"/>
              <a:gd name="connsiteY2" fmla="*/ 377194 h 1170002"/>
              <a:gd name="connsiteX3" fmla="*/ 24266 w 1045994"/>
              <a:gd name="connsiteY3" fmla="*/ 231014 h 1170002"/>
              <a:gd name="connsiteX4" fmla="*/ 169860 w 1045994"/>
              <a:gd name="connsiteY4" fmla="*/ 157924 h 1170002"/>
              <a:gd name="connsiteX5" fmla="*/ 315454 w 1045994"/>
              <a:gd name="connsiteY5" fmla="*/ 84834 h 1170002"/>
              <a:gd name="connsiteX6" fmla="*/ 426925 w 1045994"/>
              <a:gd name="connsiteY6" fmla="*/ 14371 h 1170002"/>
              <a:gd name="connsiteX7" fmla="*/ 606640 w 1045994"/>
              <a:gd name="connsiteY7" fmla="*/ 11744 h 1170002"/>
              <a:gd name="connsiteX8" fmla="*/ 897828 w 1045994"/>
              <a:gd name="connsiteY8" fmla="*/ 84833 h 1170002"/>
              <a:gd name="connsiteX9" fmla="*/ 978718 w 1045994"/>
              <a:gd name="connsiteY9" fmla="*/ 203557 h 1170002"/>
              <a:gd name="connsiteX10" fmla="*/ 1043421 w 1045994"/>
              <a:gd name="connsiteY10" fmla="*/ 450283 h 1170002"/>
              <a:gd name="connsiteX11" fmla="*/ 966783 w 1045994"/>
              <a:gd name="connsiteY11" fmla="*/ 548735 h 1170002"/>
              <a:gd name="connsiteX12" fmla="*/ 821189 w 1045994"/>
              <a:gd name="connsiteY12" fmla="*/ 768006 h 1170002"/>
              <a:gd name="connsiteX13" fmla="*/ 457206 w 1045994"/>
              <a:gd name="connsiteY13" fmla="*/ 1133457 h 1170002"/>
              <a:gd name="connsiteX14" fmla="*/ 457206 w 1045994"/>
              <a:gd name="connsiteY14" fmla="*/ 987275 h 1170002"/>
              <a:gd name="connsiteX15" fmla="*/ 748393 w 1045994"/>
              <a:gd name="connsiteY15" fmla="*/ 621825 h 1170002"/>
              <a:gd name="connsiteX16" fmla="*/ 675595 w 1045994"/>
              <a:gd name="connsiteY16" fmla="*/ 475645 h 1170002"/>
              <a:gd name="connsiteX17" fmla="*/ 533844 w 1045994"/>
              <a:gd name="connsiteY17" fmla="*/ 450283 h 1170002"/>
              <a:gd name="connsiteX18" fmla="*/ 302381 w 1045994"/>
              <a:gd name="connsiteY18" fmla="*/ 503328 h 1170002"/>
              <a:gd name="connsiteX19" fmla="*/ 169860 w 1045994"/>
              <a:gd name="connsiteY19" fmla="*/ 523374 h 1170002"/>
              <a:gd name="connsiteX20" fmla="*/ 97064 w 1045994"/>
              <a:gd name="connsiteY20" fmla="*/ 450283 h 1170002"/>
              <a:gd name="connsiteX0" fmla="*/ 97064 w 1045994"/>
              <a:gd name="connsiteY0" fmla="*/ 450283 h 1135332"/>
              <a:gd name="connsiteX1" fmla="*/ 97064 w 1045994"/>
              <a:gd name="connsiteY1" fmla="*/ 450283 h 1135332"/>
              <a:gd name="connsiteX2" fmla="*/ 24266 w 1045994"/>
              <a:gd name="connsiteY2" fmla="*/ 377194 h 1135332"/>
              <a:gd name="connsiteX3" fmla="*/ 24266 w 1045994"/>
              <a:gd name="connsiteY3" fmla="*/ 231014 h 1135332"/>
              <a:gd name="connsiteX4" fmla="*/ 169860 w 1045994"/>
              <a:gd name="connsiteY4" fmla="*/ 157924 h 1135332"/>
              <a:gd name="connsiteX5" fmla="*/ 315454 w 1045994"/>
              <a:gd name="connsiteY5" fmla="*/ 84834 h 1135332"/>
              <a:gd name="connsiteX6" fmla="*/ 426925 w 1045994"/>
              <a:gd name="connsiteY6" fmla="*/ 14371 h 1135332"/>
              <a:gd name="connsiteX7" fmla="*/ 606640 w 1045994"/>
              <a:gd name="connsiteY7" fmla="*/ 11744 h 1135332"/>
              <a:gd name="connsiteX8" fmla="*/ 897828 w 1045994"/>
              <a:gd name="connsiteY8" fmla="*/ 84833 h 1135332"/>
              <a:gd name="connsiteX9" fmla="*/ 978718 w 1045994"/>
              <a:gd name="connsiteY9" fmla="*/ 203557 h 1135332"/>
              <a:gd name="connsiteX10" fmla="*/ 1043421 w 1045994"/>
              <a:gd name="connsiteY10" fmla="*/ 450283 h 1135332"/>
              <a:gd name="connsiteX11" fmla="*/ 966783 w 1045994"/>
              <a:gd name="connsiteY11" fmla="*/ 548735 h 1135332"/>
              <a:gd name="connsiteX12" fmla="*/ 821189 w 1045994"/>
              <a:gd name="connsiteY12" fmla="*/ 768006 h 1135332"/>
              <a:gd name="connsiteX13" fmla="*/ 639157 w 1045994"/>
              <a:gd name="connsiteY13" fmla="*/ 976024 h 1135332"/>
              <a:gd name="connsiteX14" fmla="*/ 457206 w 1045994"/>
              <a:gd name="connsiteY14" fmla="*/ 1133457 h 1135332"/>
              <a:gd name="connsiteX15" fmla="*/ 457206 w 1045994"/>
              <a:gd name="connsiteY15" fmla="*/ 987275 h 1135332"/>
              <a:gd name="connsiteX16" fmla="*/ 748393 w 1045994"/>
              <a:gd name="connsiteY16" fmla="*/ 621825 h 1135332"/>
              <a:gd name="connsiteX17" fmla="*/ 675595 w 1045994"/>
              <a:gd name="connsiteY17" fmla="*/ 475645 h 1135332"/>
              <a:gd name="connsiteX18" fmla="*/ 533844 w 1045994"/>
              <a:gd name="connsiteY18" fmla="*/ 450283 h 1135332"/>
              <a:gd name="connsiteX19" fmla="*/ 302381 w 1045994"/>
              <a:gd name="connsiteY19" fmla="*/ 503328 h 1135332"/>
              <a:gd name="connsiteX20" fmla="*/ 169860 w 1045994"/>
              <a:gd name="connsiteY20" fmla="*/ 523374 h 1135332"/>
              <a:gd name="connsiteX21" fmla="*/ 97064 w 1045994"/>
              <a:gd name="connsiteY21" fmla="*/ 450283 h 1135332"/>
              <a:gd name="connsiteX0" fmla="*/ 97064 w 1045994"/>
              <a:gd name="connsiteY0" fmla="*/ 450283 h 1141412"/>
              <a:gd name="connsiteX1" fmla="*/ 97064 w 1045994"/>
              <a:gd name="connsiteY1" fmla="*/ 450283 h 1141412"/>
              <a:gd name="connsiteX2" fmla="*/ 24266 w 1045994"/>
              <a:gd name="connsiteY2" fmla="*/ 377194 h 1141412"/>
              <a:gd name="connsiteX3" fmla="*/ 24266 w 1045994"/>
              <a:gd name="connsiteY3" fmla="*/ 231014 h 1141412"/>
              <a:gd name="connsiteX4" fmla="*/ 169860 w 1045994"/>
              <a:gd name="connsiteY4" fmla="*/ 157924 h 1141412"/>
              <a:gd name="connsiteX5" fmla="*/ 315454 w 1045994"/>
              <a:gd name="connsiteY5" fmla="*/ 84834 h 1141412"/>
              <a:gd name="connsiteX6" fmla="*/ 426925 w 1045994"/>
              <a:gd name="connsiteY6" fmla="*/ 14371 h 1141412"/>
              <a:gd name="connsiteX7" fmla="*/ 606640 w 1045994"/>
              <a:gd name="connsiteY7" fmla="*/ 11744 h 1141412"/>
              <a:gd name="connsiteX8" fmla="*/ 897828 w 1045994"/>
              <a:gd name="connsiteY8" fmla="*/ 84833 h 1141412"/>
              <a:gd name="connsiteX9" fmla="*/ 978718 w 1045994"/>
              <a:gd name="connsiteY9" fmla="*/ 203557 h 1141412"/>
              <a:gd name="connsiteX10" fmla="*/ 1043421 w 1045994"/>
              <a:gd name="connsiteY10" fmla="*/ 450283 h 1141412"/>
              <a:gd name="connsiteX11" fmla="*/ 966783 w 1045994"/>
              <a:gd name="connsiteY11" fmla="*/ 548735 h 1141412"/>
              <a:gd name="connsiteX12" fmla="*/ 821189 w 1045994"/>
              <a:gd name="connsiteY12" fmla="*/ 768006 h 1141412"/>
              <a:gd name="connsiteX13" fmla="*/ 679437 w 1045994"/>
              <a:gd name="connsiteY13" fmla="*/ 1035006 h 1141412"/>
              <a:gd name="connsiteX14" fmla="*/ 457206 w 1045994"/>
              <a:gd name="connsiteY14" fmla="*/ 1133457 h 1141412"/>
              <a:gd name="connsiteX15" fmla="*/ 457206 w 1045994"/>
              <a:gd name="connsiteY15" fmla="*/ 987275 h 1141412"/>
              <a:gd name="connsiteX16" fmla="*/ 748393 w 1045994"/>
              <a:gd name="connsiteY16" fmla="*/ 621825 h 1141412"/>
              <a:gd name="connsiteX17" fmla="*/ 675595 w 1045994"/>
              <a:gd name="connsiteY17" fmla="*/ 475645 h 1141412"/>
              <a:gd name="connsiteX18" fmla="*/ 533844 w 1045994"/>
              <a:gd name="connsiteY18" fmla="*/ 450283 h 1141412"/>
              <a:gd name="connsiteX19" fmla="*/ 302381 w 1045994"/>
              <a:gd name="connsiteY19" fmla="*/ 503328 h 1141412"/>
              <a:gd name="connsiteX20" fmla="*/ 169860 w 1045994"/>
              <a:gd name="connsiteY20" fmla="*/ 523374 h 1141412"/>
              <a:gd name="connsiteX21" fmla="*/ 97064 w 1045994"/>
              <a:gd name="connsiteY21" fmla="*/ 450283 h 1141412"/>
              <a:gd name="connsiteX0" fmla="*/ 97064 w 1045994"/>
              <a:gd name="connsiteY0" fmla="*/ 450283 h 1133457"/>
              <a:gd name="connsiteX1" fmla="*/ 97064 w 1045994"/>
              <a:gd name="connsiteY1" fmla="*/ 450283 h 1133457"/>
              <a:gd name="connsiteX2" fmla="*/ 24266 w 1045994"/>
              <a:gd name="connsiteY2" fmla="*/ 377194 h 1133457"/>
              <a:gd name="connsiteX3" fmla="*/ 24266 w 1045994"/>
              <a:gd name="connsiteY3" fmla="*/ 231014 h 1133457"/>
              <a:gd name="connsiteX4" fmla="*/ 169860 w 1045994"/>
              <a:gd name="connsiteY4" fmla="*/ 157924 h 1133457"/>
              <a:gd name="connsiteX5" fmla="*/ 315454 w 1045994"/>
              <a:gd name="connsiteY5" fmla="*/ 84834 h 1133457"/>
              <a:gd name="connsiteX6" fmla="*/ 426925 w 1045994"/>
              <a:gd name="connsiteY6" fmla="*/ 14371 h 1133457"/>
              <a:gd name="connsiteX7" fmla="*/ 606640 w 1045994"/>
              <a:gd name="connsiteY7" fmla="*/ 11744 h 1133457"/>
              <a:gd name="connsiteX8" fmla="*/ 897828 w 1045994"/>
              <a:gd name="connsiteY8" fmla="*/ 84833 h 1133457"/>
              <a:gd name="connsiteX9" fmla="*/ 978718 w 1045994"/>
              <a:gd name="connsiteY9" fmla="*/ 203557 h 1133457"/>
              <a:gd name="connsiteX10" fmla="*/ 1043421 w 1045994"/>
              <a:gd name="connsiteY10" fmla="*/ 450283 h 1133457"/>
              <a:gd name="connsiteX11" fmla="*/ 966783 w 1045994"/>
              <a:gd name="connsiteY11" fmla="*/ 548735 h 1133457"/>
              <a:gd name="connsiteX12" fmla="*/ 821189 w 1045994"/>
              <a:gd name="connsiteY12" fmla="*/ 768006 h 1133457"/>
              <a:gd name="connsiteX13" fmla="*/ 679437 w 1045994"/>
              <a:gd name="connsiteY13" fmla="*/ 1035006 h 1133457"/>
              <a:gd name="connsiteX14" fmla="*/ 457206 w 1045994"/>
              <a:gd name="connsiteY14" fmla="*/ 1133457 h 1133457"/>
              <a:gd name="connsiteX15" fmla="*/ 315454 w 1045994"/>
              <a:gd name="connsiteY15" fmla="*/ 1035006 h 1133457"/>
              <a:gd name="connsiteX16" fmla="*/ 748393 w 1045994"/>
              <a:gd name="connsiteY16" fmla="*/ 621825 h 1133457"/>
              <a:gd name="connsiteX17" fmla="*/ 675595 w 1045994"/>
              <a:gd name="connsiteY17" fmla="*/ 475645 h 1133457"/>
              <a:gd name="connsiteX18" fmla="*/ 533844 w 1045994"/>
              <a:gd name="connsiteY18" fmla="*/ 450283 h 1133457"/>
              <a:gd name="connsiteX19" fmla="*/ 302381 w 1045994"/>
              <a:gd name="connsiteY19" fmla="*/ 503328 h 1133457"/>
              <a:gd name="connsiteX20" fmla="*/ 169860 w 1045994"/>
              <a:gd name="connsiteY20" fmla="*/ 523374 h 1133457"/>
              <a:gd name="connsiteX21" fmla="*/ 97064 w 1045994"/>
              <a:gd name="connsiteY21" fmla="*/ 450283 h 1133457"/>
              <a:gd name="connsiteX0" fmla="*/ 97064 w 1045994"/>
              <a:gd name="connsiteY0" fmla="*/ 450283 h 1133457"/>
              <a:gd name="connsiteX1" fmla="*/ 97064 w 1045994"/>
              <a:gd name="connsiteY1" fmla="*/ 450283 h 1133457"/>
              <a:gd name="connsiteX2" fmla="*/ 24266 w 1045994"/>
              <a:gd name="connsiteY2" fmla="*/ 377194 h 1133457"/>
              <a:gd name="connsiteX3" fmla="*/ 24266 w 1045994"/>
              <a:gd name="connsiteY3" fmla="*/ 231014 h 1133457"/>
              <a:gd name="connsiteX4" fmla="*/ 169860 w 1045994"/>
              <a:gd name="connsiteY4" fmla="*/ 157924 h 1133457"/>
              <a:gd name="connsiteX5" fmla="*/ 315454 w 1045994"/>
              <a:gd name="connsiteY5" fmla="*/ 84834 h 1133457"/>
              <a:gd name="connsiteX6" fmla="*/ 426925 w 1045994"/>
              <a:gd name="connsiteY6" fmla="*/ 14371 h 1133457"/>
              <a:gd name="connsiteX7" fmla="*/ 606640 w 1045994"/>
              <a:gd name="connsiteY7" fmla="*/ 11744 h 1133457"/>
              <a:gd name="connsiteX8" fmla="*/ 897828 w 1045994"/>
              <a:gd name="connsiteY8" fmla="*/ 84833 h 1133457"/>
              <a:gd name="connsiteX9" fmla="*/ 978718 w 1045994"/>
              <a:gd name="connsiteY9" fmla="*/ 203557 h 1133457"/>
              <a:gd name="connsiteX10" fmla="*/ 1043421 w 1045994"/>
              <a:gd name="connsiteY10" fmla="*/ 450283 h 1133457"/>
              <a:gd name="connsiteX11" fmla="*/ 966783 w 1045994"/>
              <a:gd name="connsiteY11" fmla="*/ 548735 h 1133457"/>
              <a:gd name="connsiteX12" fmla="*/ 821189 w 1045994"/>
              <a:gd name="connsiteY12" fmla="*/ 768006 h 1133457"/>
              <a:gd name="connsiteX13" fmla="*/ 679437 w 1045994"/>
              <a:gd name="connsiteY13" fmla="*/ 1035005 h 1133457"/>
              <a:gd name="connsiteX14" fmla="*/ 457206 w 1045994"/>
              <a:gd name="connsiteY14" fmla="*/ 1133457 h 1133457"/>
              <a:gd name="connsiteX15" fmla="*/ 315454 w 1045994"/>
              <a:gd name="connsiteY15" fmla="*/ 1035006 h 1133457"/>
              <a:gd name="connsiteX16" fmla="*/ 748393 w 1045994"/>
              <a:gd name="connsiteY16" fmla="*/ 621825 h 1133457"/>
              <a:gd name="connsiteX17" fmla="*/ 675595 w 1045994"/>
              <a:gd name="connsiteY17" fmla="*/ 475645 h 1133457"/>
              <a:gd name="connsiteX18" fmla="*/ 533844 w 1045994"/>
              <a:gd name="connsiteY18" fmla="*/ 450283 h 1133457"/>
              <a:gd name="connsiteX19" fmla="*/ 302381 w 1045994"/>
              <a:gd name="connsiteY19" fmla="*/ 503328 h 1133457"/>
              <a:gd name="connsiteX20" fmla="*/ 169860 w 1045994"/>
              <a:gd name="connsiteY20" fmla="*/ 523374 h 1133457"/>
              <a:gd name="connsiteX21" fmla="*/ 97064 w 1045994"/>
              <a:gd name="connsiteY21" fmla="*/ 450283 h 1133457"/>
              <a:gd name="connsiteX0" fmla="*/ 97064 w 1045994"/>
              <a:gd name="connsiteY0" fmla="*/ 450283 h 1400456"/>
              <a:gd name="connsiteX1" fmla="*/ 97064 w 1045994"/>
              <a:gd name="connsiteY1" fmla="*/ 450283 h 1400456"/>
              <a:gd name="connsiteX2" fmla="*/ 24266 w 1045994"/>
              <a:gd name="connsiteY2" fmla="*/ 377194 h 1400456"/>
              <a:gd name="connsiteX3" fmla="*/ 24266 w 1045994"/>
              <a:gd name="connsiteY3" fmla="*/ 231014 h 1400456"/>
              <a:gd name="connsiteX4" fmla="*/ 169860 w 1045994"/>
              <a:gd name="connsiteY4" fmla="*/ 157924 h 1400456"/>
              <a:gd name="connsiteX5" fmla="*/ 315454 w 1045994"/>
              <a:gd name="connsiteY5" fmla="*/ 84834 h 1400456"/>
              <a:gd name="connsiteX6" fmla="*/ 426925 w 1045994"/>
              <a:gd name="connsiteY6" fmla="*/ 14371 h 1400456"/>
              <a:gd name="connsiteX7" fmla="*/ 606640 w 1045994"/>
              <a:gd name="connsiteY7" fmla="*/ 11744 h 1400456"/>
              <a:gd name="connsiteX8" fmla="*/ 897828 w 1045994"/>
              <a:gd name="connsiteY8" fmla="*/ 84833 h 1400456"/>
              <a:gd name="connsiteX9" fmla="*/ 978718 w 1045994"/>
              <a:gd name="connsiteY9" fmla="*/ 203557 h 1400456"/>
              <a:gd name="connsiteX10" fmla="*/ 1043421 w 1045994"/>
              <a:gd name="connsiteY10" fmla="*/ 450283 h 1400456"/>
              <a:gd name="connsiteX11" fmla="*/ 966783 w 1045994"/>
              <a:gd name="connsiteY11" fmla="*/ 548735 h 1400456"/>
              <a:gd name="connsiteX12" fmla="*/ 821189 w 1045994"/>
              <a:gd name="connsiteY12" fmla="*/ 768006 h 1400456"/>
              <a:gd name="connsiteX13" fmla="*/ 679437 w 1045994"/>
              <a:gd name="connsiteY13" fmla="*/ 1035005 h 1400456"/>
              <a:gd name="connsiteX14" fmla="*/ 315454 w 1045994"/>
              <a:gd name="connsiteY14" fmla="*/ 1400456 h 1400456"/>
              <a:gd name="connsiteX15" fmla="*/ 315454 w 1045994"/>
              <a:gd name="connsiteY15" fmla="*/ 1035006 h 1400456"/>
              <a:gd name="connsiteX16" fmla="*/ 748393 w 1045994"/>
              <a:gd name="connsiteY16" fmla="*/ 621825 h 1400456"/>
              <a:gd name="connsiteX17" fmla="*/ 675595 w 1045994"/>
              <a:gd name="connsiteY17" fmla="*/ 475645 h 1400456"/>
              <a:gd name="connsiteX18" fmla="*/ 533844 w 1045994"/>
              <a:gd name="connsiteY18" fmla="*/ 450283 h 1400456"/>
              <a:gd name="connsiteX19" fmla="*/ 302381 w 1045994"/>
              <a:gd name="connsiteY19" fmla="*/ 503328 h 1400456"/>
              <a:gd name="connsiteX20" fmla="*/ 169860 w 1045994"/>
              <a:gd name="connsiteY20" fmla="*/ 523374 h 1400456"/>
              <a:gd name="connsiteX21" fmla="*/ 97064 w 1045994"/>
              <a:gd name="connsiteY21" fmla="*/ 450283 h 1400456"/>
              <a:gd name="connsiteX0" fmla="*/ 97064 w 1045994"/>
              <a:gd name="connsiteY0" fmla="*/ 450283 h 1412638"/>
              <a:gd name="connsiteX1" fmla="*/ 97064 w 1045994"/>
              <a:gd name="connsiteY1" fmla="*/ 450283 h 1412638"/>
              <a:gd name="connsiteX2" fmla="*/ 24266 w 1045994"/>
              <a:gd name="connsiteY2" fmla="*/ 377194 h 1412638"/>
              <a:gd name="connsiteX3" fmla="*/ 24266 w 1045994"/>
              <a:gd name="connsiteY3" fmla="*/ 231014 h 1412638"/>
              <a:gd name="connsiteX4" fmla="*/ 169860 w 1045994"/>
              <a:gd name="connsiteY4" fmla="*/ 157924 h 1412638"/>
              <a:gd name="connsiteX5" fmla="*/ 315454 w 1045994"/>
              <a:gd name="connsiteY5" fmla="*/ 84834 h 1412638"/>
              <a:gd name="connsiteX6" fmla="*/ 426925 w 1045994"/>
              <a:gd name="connsiteY6" fmla="*/ 14371 h 1412638"/>
              <a:gd name="connsiteX7" fmla="*/ 606640 w 1045994"/>
              <a:gd name="connsiteY7" fmla="*/ 11744 h 1412638"/>
              <a:gd name="connsiteX8" fmla="*/ 897828 w 1045994"/>
              <a:gd name="connsiteY8" fmla="*/ 84833 h 1412638"/>
              <a:gd name="connsiteX9" fmla="*/ 978718 w 1045994"/>
              <a:gd name="connsiteY9" fmla="*/ 203557 h 1412638"/>
              <a:gd name="connsiteX10" fmla="*/ 1043421 w 1045994"/>
              <a:gd name="connsiteY10" fmla="*/ 450283 h 1412638"/>
              <a:gd name="connsiteX11" fmla="*/ 966783 w 1045994"/>
              <a:gd name="connsiteY11" fmla="*/ 548735 h 1412638"/>
              <a:gd name="connsiteX12" fmla="*/ 821189 w 1045994"/>
              <a:gd name="connsiteY12" fmla="*/ 768006 h 1412638"/>
              <a:gd name="connsiteX13" fmla="*/ 679437 w 1045994"/>
              <a:gd name="connsiteY13" fmla="*/ 1108096 h 1412638"/>
              <a:gd name="connsiteX14" fmla="*/ 315454 w 1045994"/>
              <a:gd name="connsiteY14" fmla="*/ 1400456 h 1412638"/>
              <a:gd name="connsiteX15" fmla="*/ 315454 w 1045994"/>
              <a:gd name="connsiteY15" fmla="*/ 1035006 h 1412638"/>
              <a:gd name="connsiteX16" fmla="*/ 748393 w 1045994"/>
              <a:gd name="connsiteY16" fmla="*/ 621825 h 1412638"/>
              <a:gd name="connsiteX17" fmla="*/ 675595 w 1045994"/>
              <a:gd name="connsiteY17" fmla="*/ 475645 h 1412638"/>
              <a:gd name="connsiteX18" fmla="*/ 533844 w 1045994"/>
              <a:gd name="connsiteY18" fmla="*/ 450283 h 1412638"/>
              <a:gd name="connsiteX19" fmla="*/ 302381 w 1045994"/>
              <a:gd name="connsiteY19" fmla="*/ 503328 h 1412638"/>
              <a:gd name="connsiteX20" fmla="*/ 169860 w 1045994"/>
              <a:gd name="connsiteY20" fmla="*/ 523374 h 1412638"/>
              <a:gd name="connsiteX21" fmla="*/ 97064 w 1045994"/>
              <a:gd name="connsiteY21" fmla="*/ 450283 h 1412638"/>
              <a:gd name="connsiteX0" fmla="*/ 97064 w 1045994"/>
              <a:gd name="connsiteY0" fmla="*/ 450283 h 1448706"/>
              <a:gd name="connsiteX1" fmla="*/ 97064 w 1045994"/>
              <a:gd name="connsiteY1" fmla="*/ 450283 h 1448706"/>
              <a:gd name="connsiteX2" fmla="*/ 24266 w 1045994"/>
              <a:gd name="connsiteY2" fmla="*/ 377194 h 1448706"/>
              <a:gd name="connsiteX3" fmla="*/ 24266 w 1045994"/>
              <a:gd name="connsiteY3" fmla="*/ 231014 h 1448706"/>
              <a:gd name="connsiteX4" fmla="*/ 169860 w 1045994"/>
              <a:gd name="connsiteY4" fmla="*/ 157924 h 1448706"/>
              <a:gd name="connsiteX5" fmla="*/ 315454 w 1045994"/>
              <a:gd name="connsiteY5" fmla="*/ 84834 h 1448706"/>
              <a:gd name="connsiteX6" fmla="*/ 426925 w 1045994"/>
              <a:gd name="connsiteY6" fmla="*/ 14371 h 1448706"/>
              <a:gd name="connsiteX7" fmla="*/ 606640 w 1045994"/>
              <a:gd name="connsiteY7" fmla="*/ 11744 h 1448706"/>
              <a:gd name="connsiteX8" fmla="*/ 897828 w 1045994"/>
              <a:gd name="connsiteY8" fmla="*/ 84833 h 1448706"/>
              <a:gd name="connsiteX9" fmla="*/ 978718 w 1045994"/>
              <a:gd name="connsiteY9" fmla="*/ 203557 h 1448706"/>
              <a:gd name="connsiteX10" fmla="*/ 1043421 w 1045994"/>
              <a:gd name="connsiteY10" fmla="*/ 450283 h 1448706"/>
              <a:gd name="connsiteX11" fmla="*/ 966783 w 1045994"/>
              <a:gd name="connsiteY11" fmla="*/ 548735 h 1448706"/>
              <a:gd name="connsiteX12" fmla="*/ 821189 w 1045994"/>
              <a:gd name="connsiteY12" fmla="*/ 768006 h 1448706"/>
              <a:gd name="connsiteX13" fmla="*/ 679437 w 1045994"/>
              <a:gd name="connsiteY13" fmla="*/ 1108096 h 1448706"/>
              <a:gd name="connsiteX14" fmla="*/ 460460 w 1045994"/>
              <a:gd name="connsiteY14" fmla="*/ 1324509 h 1448706"/>
              <a:gd name="connsiteX15" fmla="*/ 315454 w 1045994"/>
              <a:gd name="connsiteY15" fmla="*/ 1400456 h 1448706"/>
              <a:gd name="connsiteX16" fmla="*/ 315454 w 1045994"/>
              <a:gd name="connsiteY16" fmla="*/ 1035006 h 1448706"/>
              <a:gd name="connsiteX17" fmla="*/ 748393 w 1045994"/>
              <a:gd name="connsiteY17" fmla="*/ 621825 h 1448706"/>
              <a:gd name="connsiteX18" fmla="*/ 675595 w 1045994"/>
              <a:gd name="connsiteY18" fmla="*/ 475645 h 1448706"/>
              <a:gd name="connsiteX19" fmla="*/ 533844 w 1045994"/>
              <a:gd name="connsiteY19" fmla="*/ 450283 h 1448706"/>
              <a:gd name="connsiteX20" fmla="*/ 302381 w 1045994"/>
              <a:gd name="connsiteY20" fmla="*/ 503328 h 1448706"/>
              <a:gd name="connsiteX21" fmla="*/ 169860 w 1045994"/>
              <a:gd name="connsiteY21" fmla="*/ 523374 h 1448706"/>
              <a:gd name="connsiteX22" fmla="*/ 97064 w 1045994"/>
              <a:gd name="connsiteY22" fmla="*/ 450283 h 1448706"/>
              <a:gd name="connsiteX0" fmla="*/ 97064 w 1045994"/>
              <a:gd name="connsiteY0" fmla="*/ 450283 h 1461364"/>
              <a:gd name="connsiteX1" fmla="*/ 97064 w 1045994"/>
              <a:gd name="connsiteY1" fmla="*/ 450283 h 1461364"/>
              <a:gd name="connsiteX2" fmla="*/ 24266 w 1045994"/>
              <a:gd name="connsiteY2" fmla="*/ 377194 h 1461364"/>
              <a:gd name="connsiteX3" fmla="*/ 24266 w 1045994"/>
              <a:gd name="connsiteY3" fmla="*/ 231014 h 1461364"/>
              <a:gd name="connsiteX4" fmla="*/ 169860 w 1045994"/>
              <a:gd name="connsiteY4" fmla="*/ 157924 h 1461364"/>
              <a:gd name="connsiteX5" fmla="*/ 315454 w 1045994"/>
              <a:gd name="connsiteY5" fmla="*/ 84834 h 1461364"/>
              <a:gd name="connsiteX6" fmla="*/ 426925 w 1045994"/>
              <a:gd name="connsiteY6" fmla="*/ 14371 h 1461364"/>
              <a:gd name="connsiteX7" fmla="*/ 606640 w 1045994"/>
              <a:gd name="connsiteY7" fmla="*/ 11744 h 1461364"/>
              <a:gd name="connsiteX8" fmla="*/ 897828 w 1045994"/>
              <a:gd name="connsiteY8" fmla="*/ 84833 h 1461364"/>
              <a:gd name="connsiteX9" fmla="*/ 978718 w 1045994"/>
              <a:gd name="connsiteY9" fmla="*/ 203557 h 1461364"/>
              <a:gd name="connsiteX10" fmla="*/ 1043421 w 1045994"/>
              <a:gd name="connsiteY10" fmla="*/ 450283 h 1461364"/>
              <a:gd name="connsiteX11" fmla="*/ 966783 w 1045994"/>
              <a:gd name="connsiteY11" fmla="*/ 548735 h 1461364"/>
              <a:gd name="connsiteX12" fmla="*/ 821189 w 1045994"/>
              <a:gd name="connsiteY12" fmla="*/ 768006 h 1461364"/>
              <a:gd name="connsiteX13" fmla="*/ 679437 w 1045994"/>
              <a:gd name="connsiteY13" fmla="*/ 1108096 h 1461364"/>
              <a:gd name="connsiteX14" fmla="*/ 461047 w 1045994"/>
              <a:gd name="connsiteY14" fmla="*/ 1400456 h 1461364"/>
              <a:gd name="connsiteX15" fmla="*/ 315454 w 1045994"/>
              <a:gd name="connsiteY15" fmla="*/ 1400456 h 1461364"/>
              <a:gd name="connsiteX16" fmla="*/ 315454 w 1045994"/>
              <a:gd name="connsiteY16" fmla="*/ 1035006 h 1461364"/>
              <a:gd name="connsiteX17" fmla="*/ 748393 w 1045994"/>
              <a:gd name="connsiteY17" fmla="*/ 621825 h 1461364"/>
              <a:gd name="connsiteX18" fmla="*/ 675595 w 1045994"/>
              <a:gd name="connsiteY18" fmla="*/ 475645 h 1461364"/>
              <a:gd name="connsiteX19" fmla="*/ 533844 w 1045994"/>
              <a:gd name="connsiteY19" fmla="*/ 450283 h 1461364"/>
              <a:gd name="connsiteX20" fmla="*/ 302381 w 1045994"/>
              <a:gd name="connsiteY20" fmla="*/ 503328 h 1461364"/>
              <a:gd name="connsiteX21" fmla="*/ 169860 w 1045994"/>
              <a:gd name="connsiteY21" fmla="*/ 523374 h 1461364"/>
              <a:gd name="connsiteX22" fmla="*/ 97064 w 1045994"/>
              <a:gd name="connsiteY22" fmla="*/ 450283 h 1461364"/>
              <a:gd name="connsiteX0" fmla="*/ 97064 w 1045994"/>
              <a:gd name="connsiteY0" fmla="*/ 450283 h 1449183"/>
              <a:gd name="connsiteX1" fmla="*/ 97064 w 1045994"/>
              <a:gd name="connsiteY1" fmla="*/ 450283 h 1449183"/>
              <a:gd name="connsiteX2" fmla="*/ 24266 w 1045994"/>
              <a:gd name="connsiteY2" fmla="*/ 377194 h 1449183"/>
              <a:gd name="connsiteX3" fmla="*/ 24266 w 1045994"/>
              <a:gd name="connsiteY3" fmla="*/ 231014 h 1449183"/>
              <a:gd name="connsiteX4" fmla="*/ 169860 w 1045994"/>
              <a:gd name="connsiteY4" fmla="*/ 157924 h 1449183"/>
              <a:gd name="connsiteX5" fmla="*/ 315454 w 1045994"/>
              <a:gd name="connsiteY5" fmla="*/ 84834 h 1449183"/>
              <a:gd name="connsiteX6" fmla="*/ 426925 w 1045994"/>
              <a:gd name="connsiteY6" fmla="*/ 14371 h 1449183"/>
              <a:gd name="connsiteX7" fmla="*/ 606640 w 1045994"/>
              <a:gd name="connsiteY7" fmla="*/ 11744 h 1449183"/>
              <a:gd name="connsiteX8" fmla="*/ 897828 w 1045994"/>
              <a:gd name="connsiteY8" fmla="*/ 84833 h 1449183"/>
              <a:gd name="connsiteX9" fmla="*/ 978718 w 1045994"/>
              <a:gd name="connsiteY9" fmla="*/ 203557 h 1449183"/>
              <a:gd name="connsiteX10" fmla="*/ 1043421 w 1045994"/>
              <a:gd name="connsiteY10" fmla="*/ 450283 h 1449183"/>
              <a:gd name="connsiteX11" fmla="*/ 966783 w 1045994"/>
              <a:gd name="connsiteY11" fmla="*/ 548735 h 1449183"/>
              <a:gd name="connsiteX12" fmla="*/ 821189 w 1045994"/>
              <a:gd name="connsiteY12" fmla="*/ 768006 h 1449183"/>
              <a:gd name="connsiteX13" fmla="*/ 679437 w 1045994"/>
              <a:gd name="connsiteY13" fmla="*/ 1108096 h 1449183"/>
              <a:gd name="connsiteX14" fmla="*/ 461047 w 1045994"/>
              <a:gd name="connsiteY14" fmla="*/ 1400456 h 1449183"/>
              <a:gd name="connsiteX15" fmla="*/ 315454 w 1045994"/>
              <a:gd name="connsiteY15" fmla="*/ 1400456 h 1449183"/>
              <a:gd name="connsiteX16" fmla="*/ 274889 w 1045994"/>
              <a:gd name="connsiteY16" fmla="*/ 1224450 h 1449183"/>
              <a:gd name="connsiteX17" fmla="*/ 315454 w 1045994"/>
              <a:gd name="connsiteY17" fmla="*/ 1035006 h 1449183"/>
              <a:gd name="connsiteX18" fmla="*/ 748393 w 1045994"/>
              <a:gd name="connsiteY18" fmla="*/ 621825 h 1449183"/>
              <a:gd name="connsiteX19" fmla="*/ 675595 w 1045994"/>
              <a:gd name="connsiteY19" fmla="*/ 475645 h 1449183"/>
              <a:gd name="connsiteX20" fmla="*/ 533844 w 1045994"/>
              <a:gd name="connsiteY20" fmla="*/ 450283 h 1449183"/>
              <a:gd name="connsiteX21" fmla="*/ 302381 w 1045994"/>
              <a:gd name="connsiteY21" fmla="*/ 503328 h 1449183"/>
              <a:gd name="connsiteX22" fmla="*/ 169860 w 1045994"/>
              <a:gd name="connsiteY22" fmla="*/ 523374 h 1449183"/>
              <a:gd name="connsiteX23" fmla="*/ 97064 w 1045994"/>
              <a:gd name="connsiteY23" fmla="*/ 450283 h 1449183"/>
              <a:gd name="connsiteX0" fmla="*/ 97064 w 1045994"/>
              <a:gd name="connsiteY0" fmla="*/ 450283 h 1449183"/>
              <a:gd name="connsiteX1" fmla="*/ 97064 w 1045994"/>
              <a:gd name="connsiteY1" fmla="*/ 450283 h 1449183"/>
              <a:gd name="connsiteX2" fmla="*/ 24266 w 1045994"/>
              <a:gd name="connsiteY2" fmla="*/ 377194 h 1449183"/>
              <a:gd name="connsiteX3" fmla="*/ 24266 w 1045994"/>
              <a:gd name="connsiteY3" fmla="*/ 231014 h 1449183"/>
              <a:gd name="connsiteX4" fmla="*/ 169860 w 1045994"/>
              <a:gd name="connsiteY4" fmla="*/ 157924 h 1449183"/>
              <a:gd name="connsiteX5" fmla="*/ 315454 w 1045994"/>
              <a:gd name="connsiteY5" fmla="*/ 84834 h 1449183"/>
              <a:gd name="connsiteX6" fmla="*/ 426925 w 1045994"/>
              <a:gd name="connsiteY6" fmla="*/ 14371 h 1449183"/>
              <a:gd name="connsiteX7" fmla="*/ 606640 w 1045994"/>
              <a:gd name="connsiteY7" fmla="*/ 11744 h 1449183"/>
              <a:gd name="connsiteX8" fmla="*/ 897828 w 1045994"/>
              <a:gd name="connsiteY8" fmla="*/ 84833 h 1449183"/>
              <a:gd name="connsiteX9" fmla="*/ 978718 w 1045994"/>
              <a:gd name="connsiteY9" fmla="*/ 203557 h 1449183"/>
              <a:gd name="connsiteX10" fmla="*/ 1043421 w 1045994"/>
              <a:gd name="connsiteY10" fmla="*/ 450283 h 1449183"/>
              <a:gd name="connsiteX11" fmla="*/ 966783 w 1045994"/>
              <a:gd name="connsiteY11" fmla="*/ 548735 h 1449183"/>
              <a:gd name="connsiteX12" fmla="*/ 821189 w 1045994"/>
              <a:gd name="connsiteY12" fmla="*/ 768006 h 1449183"/>
              <a:gd name="connsiteX13" fmla="*/ 679437 w 1045994"/>
              <a:gd name="connsiteY13" fmla="*/ 1108096 h 1449183"/>
              <a:gd name="connsiteX14" fmla="*/ 461047 w 1045994"/>
              <a:gd name="connsiteY14" fmla="*/ 1400456 h 1449183"/>
              <a:gd name="connsiteX15" fmla="*/ 315454 w 1045994"/>
              <a:gd name="connsiteY15" fmla="*/ 1400456 h 1449183"/>
              <a:gd name="connsiteX16" fmla="*/ 388251 w 1045994"/>
              <a:gd name="connsiteY16" fmla="*/ 1254275 h 1449183"/>
              <a:gd name="connsiteX17" fmla="*/ 315454 w 1045994"/>
              <a:gd name="connsiteY17" fmla="*/ 1035006 h 1449183"/>
              <a:gd name="connsiteX18" fmla="*/ 748393 w 1045994"/>
              <a:gd name="connsiteY18" fmla="*/ 621825 h 1449183"/>
              <a:gd name="connsiteX19" fmla="*/ 675595 w 1045994"/>
              <a:gd name="connsiteY19" fmla="*/ 475645 h 1449183"/>
              <a:gd name="connsiteX20" fmla="*/ 533844 w 1045994"/>
              <a:gd name="connsiteY20" fmla="*/ 450283 h 1449183"/>
              <a:gd name="connsiteX21" fmla="*/ 302381 w 1045994"/>
              <a:gd name="connsiteY21" fmla="*/ 503328 h 1449183"/>
              <a:gd name="connsiteX22" fmla="*/ 169860 w 1045994"/>
              <a:gd name="connsiteY22" fmla="*/ 523374 h 1449183"/>
              <a:gd name="connsiteX23" fmla="*/ 97064 w 1045994"/>
              <a:gd name="connsiteY23" fmla="*/ 450283 h 1449183"/>
              <a:gd name="connsiteX0" fmla="*/ 97064 w 1045994"/>
              <a:gd name="connsiteY0" fmla="*/ 450283 h 1449183"/>
              <a:gd name="connsiteX1" fmla="*/ 97064 w 1045994"/>
              <a:gd name="connsiteY1" fmla="*/ 450283 h 1449183"/>
              <a:gd name="connsiteX2" fmla="*/ 24266 w 1045994"/>
              <a:gd name="connsiteY2" fmla="*/ 377194 h 1449183"/>
              <a:gd name="connsiteX3" fmla="*/ 24266 w 1045994"/>
              <a:gd name="connsiteY3" fmla="*/ 231014 h 1449183"/>
              <a:gd name="connsiteX4" fmla="*/ 169860 w 1045994"/>
              <a:gd name="connsiteY4" fmla="*/ 157924 h 1449183"/>
              <a:gd name="connsiteX5" fmla="*/ 315454 w 1045994"/>
              <a:gd name="connsiteY5" fmla="*/ 84834 h 1449183"/>
              <a:gd name="connsiteX6" fmla="*/ 426925 w 1045994"/>
              <a:gd name="connsiteY6" fmla="*/ 14371 h 1449183"/>
              <a:gd name="connsiteX7" fmla="*/ 606640 w 1045994"/>
              <a:gd name="connsiteY7" fmla="*/ 11744 h 1449183"/>
              <a:gd name="connsiteX8" fmla="*/ 897828 w 1045994"/>
              <a:gd name="connsiteY8" fmla="*/ 84833 h 1449183"/>
              <a:gd name="connsiteX9" fmla="*/ 978718 w 1045994"/>
              <a:gd name="connsiteY9" fmla="*/ 203557 h 1449183"/>
              <a:gd name="connsiteX10" fmla="*/ 1043421 w 1045994"/>
              <a:gd name="connsiteY10" fmla="*/ 450283 h 1449183"/>
              <a:gd name="connsiteX11" fmla="*/ 966783 w 1045994"/>
              <a:gd name="connsiteY11" fmla="*/ 548735 h 1449183"/>
              <a:gd name="connsiteX12" fmla="*/ 821189 w 1045994"/>
              <a:gd name="connsiteY12" fmla="*/ 768006 h 1449183"/>
              <a:gd name="connsiteX13" fmla="*/ 679437 w 1045994"/>
              <a:gd name="connsiteY13" fmla="*/ 1108096 h 1449183"/>
              <a:gd name="connsiteX14" fmla="*/ 461047 w 1045994"/>
              <a:gd name="connsiteY14" fmla="*/ 1400456 h 1449183"/>
              <a:gd name="connsiteX15" fmla="*/ 315454 w 1045994"/>
              <a:gd name="connsiteY15" fmla="*/ 1400456 h 1449183"/>
              <a:gd name="connsiteX16" fmla="*/ 388251 w 1045994"/>
              <a:gd name="connsiteY16" fmla="*/ 1254275 h 1449183"/>
              <a:gd name="connsiteX17" fmla="*/ 388251 w 1045994"/>
              <a:gd name="connsiteY17" fmla="*/ 1181185 h 1449183"/>
              <a:gd name="connsiteX18" fmla="*/ 315454 w 1045994"/>
              <a:gd name="connsiteY18" fmla="*/ 1035006 h 1449183"/>
              <a:gd name="connsiteX19" fmla="*/ 748393 w 1045994"/>
              <a:gd name="connsiteY19" fmla="*/ 621825 h 1449183"/>
              <a:gd name="connsiteX20" fmla="*/ 675595 w 1045994"/>
              <a:gd name="connsiteY20" fmla="*/ 475645 h 1449183"/>
              <a:gd name="connsiteX21" fmla="*/ 533844 w 1045994"/>
              <a:gd name="connsiteY21" fmla="*/ 450283 h 1449183"/>
              <a:gd name="connsiteX22" fmla="*/ 302381 w 1045994"/>
              <a:gd name="connsiteY22" fmla="*/ 503328 h 1449183"/>
              <a:gd name="connsiteX23" fmla="*/ 169860 w 1045994"/>
              <a:gd name="connsiteY23" fmla="*/ 523374 h 1449183"/>
              <a:gd name="connsiteX24" fmla="*/ 97064 w 1045994"/>
              <a:gd name="connsiteY24" fmla="*/ 450283 h 1449183"/>
              <a:gd name="connsiteX0" fmla="*/ 97064 w 1045994"/>
              <a:gd name="connsiteY0" fmla="*/ 450283 h 1437001"/>
              <a:gd name="connsiteX1" fmla="*/ 97064 w 1045994"/>
              <a:gd name="connsiteY1" fmla="*/ 450283 h 1437001"/>
              <a:gd name="connsiteX2" fmla="*/ 24266 w 1045994"/>
              <a:gd name="connsiteY2" fmla="*/ 377194 h 1437001"/>
              <a:gd name="connsiteX3" fmla="*/ 24266 w 1045994"/>
              <a:gd name="connsiteY3" fmla="*/ 231014 h 1437001"/>
              <a:gd name="connsiteX4" fmla="*/ 169860 w 1045994"/>
              <a:gd name="connsiteY4" fmla="*/ 157924 h 1437001"/>
              <a:gd name="connsiteX5" fmla="*/ 315454 w 1045994"/>
              <a:gd name="connsiteY5" fmla="*/ 84834 h 1437001"/>
              <a:gd name="connsiteX6" fmla="*/ 426925 w 1045994"/>
              <a:gd name="connsiteY6" fmla="*/ 14371 h 1437001"/>
              <a:gd name="connsiteX7" fmla="*/ 606640 w 1045994"/>
              <a:gd name="connsiteY7" fmla="*/ 11744 h 1437001"/>
              <a:gd name="connsiteX8" fmla="*/ 897828 w 1045994"/>
              <a:gd name="connsiteY8" fmla="*/ 84833 h 1437001"/>
              <a:gd name="connsiteX9" fmla="*/ 978718 w 1045994"/>
              <a:gd name="connsiteY9" fmla="*/ 203557 h 1437001"/>
              <a:gd name="connsiteX10" fmla="*/ 1043421 w 1045994"/>
              <a:gd name="connsiteY10" fmla="*/ 450283 h 1437001"/>
              <a:gd name="connsiteX11" fmla="*/ 966783 w 1045994"/>
              <a:gd name="connsiteY11" fmla="*/ 548735 h 1437001"/>
              <a:gd name="connsiteX12" fmla="*/ 821189 w 1045994"/>
              <a:gd name="connsiteY12" fmla="*/ 768006 h 1437001"/>
              <a:gd name="connsiteX13" fmla="*/ 679437 w 1045994"/>
              <a:gd name="connsiteY13" fmla="*/ 1108096 h 1437001"/>
              <a:gd name="connsiteX14" fmla="*/ 461047 w 1045994"/>
              <a:gd name="connsiteY14" fmla="*/ 1400456 h 1437001"/>
              <a:gd name="connsiteX15" fmla="*/ 461047 w 1045994"/>
              <a:gd name="connsiteY15" fmla="*/ 1327366 h 1437001"/>
              <a:gd name="connsiteX16" fmla="*/ 388251 w 1045994"/>
              <a:gd name="connsiteY16" fmla="*/ 1254275 h 1437001"/>
              <a:gd name="connsiteX17" fmla="*/ 388251 w 1045994"/>
              <a:gd name="connsiteY17" fmla="*/ 1181185 h 1437001"/>
              <a:gd name="connsiteX18" fmla="*/ 315454 w 1045994"/>
              <a:gd name="connsiteY18" fmla="*/ 1035006 h 1437001"/>
              <a:gd name="connsiteX19" fmla="*/ 748393 w 1045994"/>
              <a:gd name="connsiteY19" fmla="*/ 621825 h 1437001"/>
              <a:gd name="connsiteX20" fmla="*/ 675595 w 1045994"/>
              <a:gd name="connsiteY20" fmla="*/ 475645 h 1437001"/>
              <a:gd name="connsiteX21" fmla="*/ 533844 w 1045994"/>
              <a:gd name="connsiteY21" fmla="*/ 450283 h 1437001"/>
              <a:gd name="connsiteX22" fmla="*/ 302381 w 1045994"/>
              <a:gd name="connsiteY22" fmla="*/ 503328 h 1437001"/>
              <a:gd name="connsiteX23" fmla="*/ 169860 w 1045994"/>
              <a:gd name="connsiteY23" fmla="*/ 523374 h 1437001"/>
              <a:gd name="connsiteX24" fmla="*/ 97064 w 1045994"/>
              <a:gd name="connsiteY24" fmla="*/ 450283 h 1437001"/>
              <a:gd name="connsiteX0" fmla="*/ 97064 w 1045994"/>
              <a:gd name="connsiteY0" fmla="*/ 450283 h 1327366"/>
              <a:gd name="connsiteX1" fmla="*/ 97064 w 1045994"/>
              <a:gd name="connsiteY1" fmla="*/ 450283 h 1327366"/>
              <a:gd name="connsiteX2" fmla="*/ 24266 w 1045994"/>
              <a:gd name="connsiteY2" fmla="*/ 377194 h 1327366"/>
              <a:gd name="connsiteX3" fmla="*/ 24266 w 1045994"/>
              <a:gd name="connsiteY3" fmla="*/ 231014 h 1327366"/>
              <a:gd name="connsiteX4" fmla="*/ 169860 w 1045994"/>
              <a:gd name="connsiteY4" fmla="*/ 157924 h 1327366"/>
              <a:gd name="connsiteX5" fmla="*/ 315454 w 1045994"/>
              <a:gd name="connsiteY5" fmla="*/ 84834 h 1327366"/>
              <a:gd name="connsiteX6" fmla="*/ 426925 w 1045994"/>
              <a:gd name="connsiteY6" fmla="*/ 14371 h 1327366"/>
              <a:gd name="connsiteX7" fmla="*/ 606640 w 1045994"/>
              <a:gd name="connsiteY7" fmla="*/ 11744 h 1327366"/>
              <a:gd name="connsiteX8" fmla="*/ 897828 w 1045994"/>
              <a:gd name="connsiteY8" fmla="*/ 84833 h 1327366"/>
              <a:gd name="connsiteX9" fmla="*/ 978718 w 1045994"/>
              <a:gd name="connsiteY9" fmla="*/ 203557 h 1327366"/>
              <a:gd name="connsiteX10" fmla="*/ 1043421 w 1045994"/>
              <a:gd name="connsiteY10" fmla="*/ 450283 h 1327366"/>
              <a:gd name="connsiteX11" fmla="*/ 966783 w 1045994"/>
              <a:gd name="connsiteY11" fmla="*/ 548735 h 1327366"/>
              <a:gd name="connsiteX12" fmla="*/ 821189 w 1045994"/>
              <a:gd name="connsiteY12" fmla="*/ 768006 h 1327366"/>
              <a:gd name="connsiteX13" fmla="*/ 679437 w 1045994"/>
              <a:gd name="connsiteY13" fmla="*/ 1108096 h 1327366"/>
              <a:gd name="connsiteX14" fmla="*/ 461047 w 1045994"/>
              <a:gd name="connsiteY14" fmla="*/ 1254276 h 1327366"/>
              <a:gd name="connsiteX15" fmla="*/ 461047 w 1045994"/>
              <a:gd name="connsiteY15" fmla="*/ 1327366 h 1327366"/>
              <a:gd name="connsiteX16" fmla="*/ 388251 w 1045994"/>
              <a:gd name="connsiteY16" fmla="*/ 1254275 h 1327366"/>
              <a:gd name="connsiteX17" fmla="*/ 388251 w 1045994"/>
              <a:gd name="connsiteY17" fmla="*/ 1181185 h 1327366"/>
              <a:gd name="connsiteX18" fmla="*/ 315454 w 1045994"/>
              <a:gd name="connsiteY18" fmla="*/ 1035006 h 1327366"/>
              <a:gd name="connsiteX19" fmla="*/ 748393 w 1045994"/>
              <a:gd name="connsiteY19" fmla="*/ 621825 h 1327366"/>
              <a:gd name="connsiteX20" fmla="*/ 675595 w 1045994"/>
              <a:gd name="connsiteY20" fmla="*/ 475645 h 1327366"/>
              <a:gd name="connsiteX21" fmla="*/ 533844 w 1045994"/>
              <a:gd name="connsiteY21" fmla="*/ 450283 h 1327366"/>
              <a:gd name="connsiteX22" fmla="*/ 302381 w 1045994"/>
              <a:gd name="connsiteY22" fmla="*/ 503328 h 1327366"/>
              <a:gd name="connsiteX23" fmla="*/ 169860 w 1045994"/>
              <a:gd name="connsiteY23" fmla="*/ 523374 h 1327366"/>
              <a:gd name="connsiteX24" fmla="*/ 97064 w 1045994"/>
              <a:gd name="connsiteY24" fmla="*/ 450283 h 1327366"/>
              <a:gd name="connsiteX0" fmla="*/ 97064 w 1045994"/>
              <a:gd name="connsiteY0" fmla="*/ 450283 h 1351729"/>
              <a:gd name="connsiteX1" fmla="*/ 97064 w 1045994"/>
              <a:gd name="connsiteY1" fmla="*/ 450283 h 1351729"/>
              <a:gd name="connsiteX2" fmla="*/ 24266 w 1045994"/>
              <a:gd name="connsiteY2" fmla="*/ 377194 h 1351729"/>
              <a:gd name="connsiteX3" fmla="*/ 24266 w 1045994"/>
              <a:gd name="connsiteY3" fmla="*/ 231014 h 1351729"/>
              <a:gd name="connsiteX4" fmla="*/ 169860 w 1045994"/>
              <a:gd name="connsiteY4" fmla="*/ 157924 h 1351729"/>
              <a:gd name="connsiteX5" fmla="*/ 315454 w 1045994"/>
              <a:gd name="connsiteY5" fmla="*/ 84834 h 1351729"/>
              <a:gd name="connsiteX6" fmla="*/ 426925 w 1045994"/>
              <a:gd name="connsiteY6" fmla="*/ 14371 h 1351729"/>
              <a:gd name="connsiteX7" fmla="*/ 606640 w 1045994"/>
              <a:gd name="connsiteY7" fmla="*/ 11744 h 1351729"/>
              <a:gd name="connsiteX8" fmla="*/ 897828 w 1045994"/>
              <a:gd name="connsiteY8" fmla="*/ 84833 h 1351729"/>
              <a:gd name="connsiteX9" fmla="*/ 978718 w 1045994"/>
              <a:gd name="connsiteY9" fmla="*/ 203557 h 1351729"/>
              <a:gd name="connsiteX10" fmla="*/ 1043421 w 1045994"/>
              <a:gd name="connsiteY10" fmla="*/ 450283 h 1351729"/>
              <a:gd name="connsiteX11" fmla="*/ 966783 w 1045994"/>
              <a:gd name="connsiteY11" fmla="*/ 548735 h 1351729"/>
              <a:gd name="connsiteX12" fmla="*/ 821189 w 1045994"/>
              <a:gd name="connsiteY12" fmla="*/ 768006 h 1351729"/>
              <a:gd name="connsiteX13" fmla="*/ 679437 w 1045994"/>
              <a:gd name="connsiteY13" fmla="*/ 1108096 h 1351729"/>
              <a:gd name="connsiteX14" fmla="*/ 461047 w 1045994"/>
              <a:gd name="connsiteY14" fmla="*/ 1327366 h 1351729"/>
              <a:gd name="connsiteX15" fmla="*/ 388251 w 1045994"/>
              <a:gd name="connsiteY15" fmla="*/ 1254275 h 1351729"/>
              <a:gd name="connsiteX16" fmla="*/ 388251 w 1045994"/>
              <a:gd name="connsiteY16" fmla="*/ 1181185 h 1351729"/>
              <a:gd name="connsiteX17" fmla="*/ 315454 w 1045994"/>
              <a:gd name="connsiteY17" fmla="*/ 1035006 h 1351729"/>
              <a:gd name="connsiteX18" fmla="*/ 748393 w 1045994"/>
              <a:gd name="connsiteY18" fmla="*/ 621825 h 1351729"/>
              <a:gd name="connsiteX19" fmla="*/ 675595 w 1045994"/>
              <a:gd name="connsiteY19" fmla="*/ 475645 h 1351729"/>
              <a:gd name="connsiteX20" fmla="*/ 533844 w 1045994"/>
              <a:gd name="connsiteY20" fmla="*/ 450283 h 1351729"/>
              <a:gd name="connsiteX21" fmla="*/ 302381 w 1045994"/>
              <a:gd name="connsiteY21" fmla="*/ 503328 h 1351729"/>
              <a:gd name="connsiteX22" fmla="*/ 169860 w 1045994"/>
              <a:gd name="connsiteY22" fmla="*/ 523374 h 1351729"/>
              <a:gd name="connsiteX23" fmla="*/ 97064 w 1045994"/>
              <a:gd name="connsiteY23" fmla="*/ 450283 h 1351729"/>
              <a:gd name="connsiteX0" fmla="*/ 97064 w 1045994"/>
              <a:gd name="connsiteY0" fmla="*/ 450283 h 1278639"/>
              <a:gd name="connsiteX1" fmla="*/ 97064 w 1045994"/>
              <a:gd name="connsiteY1" fmla="*/ 450283 h 1278639"/>
              <a:gd name="connsiteX2" fmla="*/ 24266 w 1045994"/>
              <a:gd name="connsiteY2" fmla="*/ 377194 h 1278639"/>
              <a:gd name="connsiteX3" fmla="*/ 24266 w 1045994"/>
              <a:gd name="connsiteY3" fmla="*/ 231014 h 1278639"/>
              <a:gd name="connsiteX4" fmla="*/ 169860 w 1045994"/>
              <a:gd name="connsiteY4" fmla="*/ 157924 h 1278639"/>
              <a:gd name="connsiteX5" fmla="*/ 315454 w 1045994"/>
              <a:gd name="connsiteY5" fmla="*/ 84834 h 1278639"/>
              <a:gd name="connsiteX6" fmla="*/ 426925 w 1045994"/>
              <a:gd name="connsiteY6" fmla="*/ 14371 h 1278639"/>
              <a:gd name="connsiteX7" fmla="*/ 606640 w 1045994"/>
              <a:gd name="connsiteY7" fmla="*/ 11744 h 1278639"/>
              <a:gd name="connsiteX8" fmla="*/ 897828 w 1045994"/>
              <a:gd name="connsiteY8" fmla="*/ 84833 h 1278639"/>
              <a:gd name="connsiteX9" fmla="*/ 978718 w 1045994"/>
              <a:gd name="connsiteY9" fmla="*/ 203557 h 1278639"/>
              <a:gd name="connsiteX10" fmla="*/ 1043421 w 1045994"/>
              <a:gd name="connsiteY10" fmla="*/ 450283 h 1278639"/>
              <a:gd name="connsiteX11" fmla="*/ 966783 w 1045994"/>
              <a:gd name="connsiteY11" fmla="*/ 548735 h 1278639"/>
              <a:gd name="connsiteX12" fmla="*/ 821189 w 1045994"/>
              <a:gd name="connsiteY12" fmla="*/ 768006 h 1278639"/>
              <a:gd name="connsiteX13" fmla="*/ 679437 w 1045994"/>
              <a:gd name="connsiteY13" fmla="*/ 1108096 h 1278639"/>
              <a:gd name="connsiteX14" fmla="*/ 461047 w 1045994"/>
              <a:gd name="connsiteY14" fmla="*/ 1254276 h 1278639"/>
              <a:gd name="connsiteX15" fmla="*/ 388251 w 1045994"/>
              <a:gd name="connsiteY15" fmla="*/ 1254275 h 1278639"/>
              <a:gd name="connsiteX16" fmla="*/ 388251 w 1045994"/>
              <a:gd name="connsiteY16" fmla="*/ 1181185 h 1278639"/>
              <a:gd name="connsiteX17" fmla="*/ 315454 w 1045994"/>
              <a:gd name="connsiteY17" fmla="*/ 1035006 h 1278639"/>
              <a:gd name="connsiteX18" fmla="*/ 748393 w 1045994"/>
              <a:gd name="connsiteY18" fmla="*/ 621825 h 1278639"/>
              <a:gd name="connsiteX19" fmla="*/ 675595 w 1045994"/>
              <a:gd name="connsiteY19" fmla="*/ 475645 h 1278639"/>
              <a:gd name="connsiteX20" fmla="*/ 533844 w 1045994"/>
              <a:gd name="connsiteY20" fmla="*/ 450283 h 1278639"/>
              <a:gd name="connsiteX21" fmla="*/ 302381 w 1045994"/>
              <a:gd name="connsiteY21" fmla="*/ 503328 h 1278639"/>
              <a:gd name="connsiteX22" fmla="*/ 169860 w 1045994"/>
              <a:gd name="connsiteY22" fmla="*/ 523374 h 1278639"/>
              <a:gd name="connsiteX23" fmla="*/ 97064 w 1045994"/>
              <a:gd name="connsiteY23" fmla="*/ 450283 h 1278639"/>
              <a:gd name="connsiteX0" fmla="*/ 97064 w 1045994"/>
              <a:gd name="connsiteY0" fmla="*/ 450283 h 1278639"/>
              <a:gd name="connsiteX1" fmla="*/ 97064 w 1045994"/>
              <a:gd name="connsiteY1" fmla="*/ 450283 h 1278639"/>
              <a:gd name="connsiteX2" fmla="*/ 24266 w 1045994"/>
              <a:gd name="connsiteY2" fmla="*/ 377194 h 1278639"/>
              <a:gd name="connsiteX3" fmla="*/ 24266 w 1045994"/>
              <a:gd name="connsiteY3" fmla="*/ 231014 h 1278639"/>
              <a:gd name="connsiteX4" fmla="*/ 169860 w 1045994"/>
              <a:gd name="connsiteY4" fmla="*/ 157924 h 1278639"/>
              <a:gd name="connsiteX5" fmla="*/ 315454 w 1045994"/>
              <a:gd name="connsiteY5" fmla="*/ 84834 h 1278639"/>
              <a:gd name="connsiteX6" fmla="*/ 426925 w 1045994"/>
              <a:gd name="connsiteY6" fmla="*/ 14371 h 1278639"/>
              <a:gd name="connsiteX7" fmla="*/ 606640 w 1045994"/>
              <a:gd name="connsiteY7" fmla="*/ 11744 h 1278639"/>
              <a:gd name="connsiteX8" fmla="*/ 897828 w 1045994"/>
              <a:gd name="connsiteY8" fmla="*/ 84833 h 1278639"/>
              <a:gd name="connsiteX9" fmla="*/ 978718 w 1045994"/>
              <a:gd name="connsiteY9" fmla="*/ 203557 h 1278639"/>
              <a:gd name="connsiteX10" fmla="*/ 1043421 w 1045994"/>
              <a:gd name="connsiteY10" fmla="*/ 450283 h 1278639"/>
              <a:gd name="connsiteX11" fmla="*/ 966783 w 1045994"/>
              <a:gd name="connsiteY11" fmla="*/ 548735 h 1278639"/>
              <a:gd name="connsiteX12" fmla="*/ 821189 w 1045994"/>
              <a:gd name="connsiteY12" fmla="*/ 768006 h 1278639"/>
              <a:gd name="connsiteX13" fmla="*/ 679437 w 1045994"/>
              <a:gd name="connsiteY13" fmla="*/ 1108096 h 1278639"/>
              <a:gd name="connsiteX14" fmla="*/ 461047 w 1045994"/>
              <a:gd name="connsiteY14" fmla="*/ 1254276 h 1278639"/>
              <a:gd name="connsiteX15" fmla="*/ 388251 w 1045994"/>
              <a:gd name="connsiteY15" fmla="*/ 1254275 h 1278639"/>
              <a:gd name="connsiteX16" fmla="*/ 315454 w 1045994"/>
              <a:gd name="connsiteY16" fmla="*/ 1181186 h 1278639"/>
              <a:gd name="connsiteX17" fmla="*/ 315454 w 1045994"/>
              <a:gd name="connsiteY17" fmla="*/ 1035006 h 1278639"/>
              <a:gd name="connsiteX18" fmla="*/ 748393 w 1045994"/>
              <a:gd name="connsiteY18" fmla="*/ 621825 h 1278639"/>
              <a:gd name="connsiteX19" fmla="*/ 675595 w 1045994"/>
              <a:gd name="connsiteY19" fmla="*/ 475645 h 1278639"/>
              <a:gd name="connsiteX20" fmla="*/ 533844 w 1045994"/>
              <a:gd name="connsiteY20" fmla="*/ 450283 h 1278639"/>
              <a:gd name="connsiteX21" fmla="*/ 302381 w 1045994"/>
              <a:gd name="connsiteY21" fmla="*/ 503328 h 1278639"/>
              <a:gd name="connsiteX22" fmla="*/ 169860 w 1045994"/>
              <a:gd name="connsiteY22" fmla="*/ 523374 h 1278639"/>
              <a:gd name="connsiteX23" fmla="*/ 97064 w 1045994"/>
              <a:gd name="connsiteY23" fmla="*/ 450283 h 1278639"/>
              <a:gd name="connsiteX0" fmla="*/ 97064 w 1110697"/>
              <a:gd name="connsiteY0" fmla="*/ 450283 h 1278639"/>
              <a:gd name="connsiteX1" fmla="*/ 97064 w 1110697"/>
              <a:gd name="connsiteY1" fmla="*/ 450283 h 1278639"/>
              <a:gd name="connsiteX2" fmla="*/ 24266 w 1110697"/>
              <a:gd name="connsiteY2" fmla="*/ 377194 h 1278639"/>
              <a:gd name="connsiteX3" fmla="*/ 24266 w 1110697"/>
              <a:gd name="connsiteY3" fmla="*/ 231014 h 1278639"/>
              <a:gd name="connsiteX4" fmla="*/ 169860 w 1110697"/>
              <a:gd name="connsiteY4" fmla="*/ 157924 h 1278639"/>
              <a:gd name="connsiteX5" fmla="*/ 315454 w 1110697"/>
              <a:gd name="connsiteY5" fmla="*/ 84834 h 1278639"/>
              <a:gd name="connsiteX6" fmla="*/ 426925 w 1110697"/>
              <a:gd name="connsiteY6" fmla="*/ 14371 h 1278639"/>
              <a:gd name="connsiteX7" fmla="*/ 606640 w 1110697"/>
              <a:gd name="connsiteY7" fmla="*/ 11744 h 1278639"/>
              <a:gd name="connsiteX8" fmla="*/ 897828 w 1110697"/>
              <a:gd name="connsiteY8" fmla="*/ 84833 h 1278639"/>
              <a:gd name="connsiteX9" fmla="*/ 1043421 w 1110697"/>
              <a:gd name="connsiteY9" fmla="*/ 157924 h 1278639"/>
              <a:gd name="connsiteX10" fmla="*/ 1043421 w 1110697"/>
              <a:gd name="connsiteY10" fmla="*/ 450283 h 1278639"/>
              <a:gd name="connsiteX11" fmla="*/ 966783 w 1110697"/>
              <a:gd name="connsiteY11" fmla="*/ 548735 h 1278639"/>
              <a:gd name="connsiteX12" fmla="*/ 821189 w 1110697"/>
              <a:gd name="connsiteY12" fmla="*/ 768006 h 1278639"/>
              <a:gd name="connsiteX13" fmla="*/ 679437 w 1110697"/>
              <a:gd name="connsiteY13" fmla="*/ 1108096 h 1278639"/>
              <a:gd name="connsiteX14" fmla="*/ 461047 w 1110697"/>
              <a:gd name="connsiteY14" fmla="*/ 1254276 h 1278639"/>
              <a:gd name="connsiteX15" fmla="*/ 388251 w 1110697"/>
              <a:gd name="connsiteY15" fmla="*/ 1254275 h 1278639"/>
              <a:gd name="connsiteX16" fmla="*/ 315454 w 1110697"/>
              <a:gd name="connsiteY16" fmla="*/ 1181186 h 1278639"/>
              <a:gd name="connsiteX17" fmla="*/ 315454 w 1110697"/>
              <a:gd name="connsiteY17" fmla="*/ 1035006 h 1278639"/>
              <a:gd name="connsiteX18" fmla="*/ 748393 w 1110697"/>
              <a:gd name="connsiteY18" fmla="*/ 621825 h 1278639"/>
              <a:gd name="connsiteX19" fmla="*/ 675595 w 1110697"/>
              <a:gd name="connsiteY19" fmla="*/ 475645 h 1278639"/>
              <a:gd name="connsiteX20" fmla="*/ 533844 w 1110697"/>
              <a:gd name="connsiteY20" fmla="*/ 450283 h 1278639"/>
              <a:gd name="connsiteX21" fmla="*/ 302381 w 1110697"/>
              <a:gd name="connsiteY21" fmla="*/ 503328 h 1278639"/>
              <a:gd name="connsiteX22" fmla="*/ 169860 w 1110697"/>
              <a:gd name="connsiteY22" fmla="*/ 523374 h 1278639"/>
              <a:gd name="connsiteX23" fmla="*/ 97064 w 1110697"/>
              <a:gd name="connsiteY23" fmla="*/ 450283 h 1278639"/>
              <a:gd name="connsiteX0" fmla="*/ 97064 w 1110697"/>
              <a:gd name="connsiteY0" fmla="*/ 450283 h 1278639"/>
              <a:gd name="connsiteX1" fmla="*/ 97064 w 1110697"/>
              <a:gd name="connsiteY1" fmla="*/ 450283 h 1278639"/>
              <a:gd name="connsiteX2" fmla="*/ 24266 w 1110697"/>
              <a:gd name="connsiteY2" fmla="*/ 377194 h 1278639"/>
              <a:gd name="connsiteX3" fmla="*/ 24266 w 1110697"/>
              <a:gd name="connsiteY3" fmla="*/ 231014 h 1278639"/>
              <a:gd name="connsiteX4" fmla="*/ 169860 w 1110697"/>
              <a:gd name="connsiteY4" fmla="*/ 157924 h 1278639"/>
              <a:gd name="connsiteX5" fmla="*/ 315454 w 1110697"/>
              <a:gd name="connsiteY5" fmla="*/ 84834 h 1278639"/>
              <a:gd name="connsiteX6" fmla="*/ 426925 w 1110697"/>
              <a:gd name="connsiteY6" fmla="*/ 14371 h 1278639"/>
              <a:gd name="connsiteX7" fmla="*/ 606640 w 1110697"/>
              <a:gd name="connsiteY7" fmla="*/ 11744 h 1278639"/>
              <a:gd name="connsiteX8" fmla="*/ 897828 w 1110697"/>
              <a:gd name="connsiteY8" fmla="*/ 84834 h 1278639"/>
              <a:gd name="connsiteX9" fmla="*/ 1043421 w 1110697"/>
              <a:gd name="connsiteY9" fmla="*/ 157924 h 1278639"/>
              <a:gd name="connsiteX10" fmla="*/ 1043421 w 1110697"/>
              <a:gd name="connsiteY10" fmla="*/ 450283 h 1278639"/>
              <a:gd name="connsiteX11" fmla="*/ 966783 w 1110697"/>
              <a:gd name="connsiteY11" fmla="*/ 548735 h 1278639"/>
              <a:gd name="connsiteX12" fmla="*/ 821189 w 1110697"/>
              <a:gd name="connsiteY12" fmla="*/ 768006 h 1278639"/>
              <a:gd name="connsiteX13" fmla="*/ 679437 w 1110697"/>
              <a:gd name="connsiteY13" fmla="*/ 1108096 h 1278639"/>
              <a:gd name="connsiteX14" fmla="*/ 461047 w 1110697"/>
              <a:gd name="connsiteY14" fmla="*/ 1254276 h 1278639"/>
              <a:gd name="connsiteX15" fmla="*/ 388251 w 1110697"/>
              <a:gd name="connsiteY15" fmla="*/ 1254275 h 1278639"/>
              <a:gd name="connsiteX16" fmla="*/ 315454 w 1110697"/>
              <a:gd name="connsiteY16" fmla="*/ 1181186 h 1278639"/>
              <a:gd name="connsiteX17" fmla="*/ 315454 w 1110697"/>
              <a:gd name="connsiteY17" fmla="*/ 1035006 h 1278639"/>
              <a:gd name="connsiteX18" fmla="*/ 748393 w 1110697"/>
              <a:gd name="connsiteY18" fmla="*/ 621825 h 1278639"/>
              <a:gd name="connsiteX19" fmla="*/ 675595 w 1110697"/>
              <a:gd name="connsiteY19" fmla="*/ 475645 h 1278639"/>
              <a:gd name="connsiteX20" fmla="*/ 533844 w 1110697"/>
              <a:gd name="connsiteY20" fmla="*/ 450283 h 1278639"/>
              <a:gd name="connsiteX21" fmla="*/ 302381 w 1110697"/>
              <a:gd name="connsiteY21" fmla="*/ 503328 h 1278639"/>
              <a:gd name="connsiteX22" fmla="*/ 169860 w 1110697"/>
              <a:gd name="connsiteY22" fmla="*/ 523374 h 1278639"/>
              <a:gd name="connsiteX23" fmla="*/ 97064 w 1110697"/>
              <a:gd name="connsiteY23" fmla="*/ 450283 h 1278639"/>
              <a:gd name="connsiteX0" fmla="*/ 97064 w 1110697"/>
              <a:gd name="connsiteY0" fmla="*/ 462902 h 1291258"/>
              <a:gd name="connsiteX1" fmla="*/ 97064 w 1110697"/>
              <a:gd name="connsiteY1" fmla="*/ 462902 h 1291258"/>
              <a:gd name="connsiteX2" fmla="*/ 24266 w 1110697"/>
              <a:gd name="connsiteY2" fmla="*/ 389813 h 1291258"/>
              <a:gd name="connsiteX3" fmla="*/ 24266 w 1110697"/>
              <a:gd name="connsiteY3" fmla="*/ 243633 h 1291258"/>
              <a:gd name="connsiteX4" fmla="*/ 169860 w 1110697"/>
              <a:gd name="connsiteY4" fmla="*/ 170543 h 1291258"/>
              <a:gd name="connsiteX5" fmla="*/ 315454 w 1110697"/>
              <a:gd name="connsiteY5" fmla="*/ 97453 h 1291258"/>
              <a:gd name="connsiteX6" fmla="*/ 426925 w 1110697"/>
              <a:gd name="connsiteY6" fmla="*/ 26990 h 1291258"/>
              <a:gd name="connsiteX7" fmla="*/ 606640 w 1110697"/>
              <a:gd name="connsiteY7" fmla="*/ 24363 h 1291258"/>
              <a:gd name="connsiteX8" fmla="*/ 897828 w 1110697"/>
              <a:gd name="connsiteY8" fmla="*/ 24363 h 1291258"/>
              <a:gd name="connsiteX9" fmla="*/ 1043421 w 1110697"/>
              <a:gd name="connsiteY9" fmla="*/ 170543 h 1291258"/>
              <a:gd name="connsiteX10" fmla="*/ 1043421 w 1110697"/>
              <a:gd name="connsiteY10" fmla="*/ 462902 h 1291258"/>
              <a:gd name="connsiteX11" fmla="*/ 966783 w 1110697"/>
              <a:gd name="connsiteY11" fmla="*/ 561354 h 1291258"/>
              <a:gd name="connsiteX12" fmla="*/ 821189 w 1110697"/>
              <a:gd name="connsiteY12" fmla="*/ 780625 h 1291258"/>
              <a:gd name="connsiteX13" fmla="*/ 679437 w 1110697"/>
              <a:gd name="connsiteY13" fmla="*/ 1120715 h 1291258"/>
              <a:gd name="connsiteX14" fmla="*/ 461047 w 1110697"/>
              <a:gd name="connsiteY14" fmla="*/ 1266895 h 1291258"/>
              <a:gd name="connsiteX15" fmla="*/ 388251 w 1110697"/>
              <a:gd name="connsiteY15" fmla="*/ 1266894 h 1291258"/>
              <a:gd name="connsiteX16" fmla="*/ 315454 w 1110697"/>
              <a:gd name="connsiteY16" fmla="*/ 1193805 h 1291258"/>
              <a:gd name="connsiteX17" fmla="*/ 315454 w 1110697"/>
              <a:gd name="connsiteY17" fmla="*/ 1047625 h 1291258"/>
              <a:gd name="connsiteX18" fmla="*/ 748393 w 1110697"/>
              <a:gd name="connsiteY18" fmla="*/ 634444 h 1291258"/>
              <a:gd name="connsiteX19" fmla="*/ 675595 w 1110697"/>
              <a:gd name="connsiteY19" fmla="*/ 488264 h 1291258"/>
              <a:gd name="connsiteX20" fmla="*/ 533844 w 1110697"/>
              <a:gd name="connsiteY20" fmla="*/ 462902 h 1291258"/>
              <a:gd name="connsiteX21" fmla="*/ 302381 w 1110697"/>
              <a:gd name="connsiteY21" fmla="*/ 515947 h 1291258"/>
              <a:gd name="connsiteX22" fmla="*/ 169860 w 1110697"/>
              <a:gd name="connsiteY22" fmla="*/ 535993 h 1291258"/>
              <a:gd name="connsiteX23" fmla="*/ 97064 w 1110697"/>
              <a:gd name="connsiteY23" fmla="*/ 462902 h 1291258"/>
              <a:gd name="connsiteX0" fmla="*/ 97064 w 1110697"/>
              <a:gd name="connsiteY0" fmla="*/ 450721 h 1279077"/>
              <a:gd name="connsiteX1" fmla="*/ 97064 w 1110697"/>
              <a:gd name="connsiteY1" fmla="*/ 450721 h 1279077"/>
              <a:gd name="connsiteX2" fmla="*/ 24266 w 1110697"/>
              <a:gd name="connsiteY2" fmla="*/ 377632 h 1279077"/>
              <a:gd name="connsiteX3" fmla="*/ 24266 w 1110697"/>
              <a:gd name="connsiteY3" fmla="*/ 231452 h 1279077"/>
              <a:gd name="connsiteX4" fmla="*/ 169860 w 1110697"/>
              <a:gd name="connsiteY4" fmla="*/ 158362 h 1279077"/>
              <a:gd name="connsiteX5" fmla="*/ 315454 w 1110697"/>
              <a:gd name="connsiteY5" fmla="*/ 85272 h 1279077"/>
              <a:gd name="connsiteX6" fmla="*/ 426925 w 1110697"/>
              <a:gd name="connsiteY6" fmla="*/ 14809 h 1279077"/>
              <a:gd name="connsiteX7" fmla="*/ 606640 w 1110697"/>
              <a:gd name="connsiteY7" fmla="*/ 12182 h 1279077"/>
              <a:gd name="connsiteX8" fmla="*/ 897828 w 1110697"/>
              <a:gd name="connsiteY8" fmla="*/ 12182 h 1279077"/>
              <a:gd name="connsiteX9" fmla="*/ 1043421 w 1110697"/>
              <a:gd name="connsiteY9" fmla="*/ 85272 h 1279077"/>
              <a:gd name="connsiteX10" fmla="*/ 1043421 w 1110697"/>
              <a:gd name="connsiteY10" fmla="*/ 450721 h 1279077"/>
              <a:gd name="connsiteX11" fmla="*/ 966783 w 1110697"/>
              <a:gd name="connsiteY11" fmla="*/ 549173 h 1279077"/>
              <a:gd name="connsiteX12" fmla="*/ 821189 w 1110697"/>
              <a:gd name="connsiteY12" fmla="*/ 768444 h 1279077"/>
              <a:gd name="connsiteX13" fmla="*/ 679437 w 1110697"/>
              <a:gd name="connsiteY13" fmla="*/ 1108534 h 1279077"/>
              <a:gd name="connsiteX14" fmla="*/ 461047 w 1110697"/>
              <a:gd name="connsiteY14" fmla="*/ 1254714 h 1279077"/>
              <a:gd name="connsiteX15" fmla="*/ 388251 w 1110697"/>
              <a:gd name="connsiteY15" fmla="*/ 1254713 h 1279077"/>
              <a:gd name="connsiteX16" fmla="*/ 315454 w 1110697"/>
              <a:gd name="connsiteY16" fmla="*/ 1181624 h 1279077"/>
              <a:gd name="connsiteX17" fmla="*/ 315454 w 1110697"/>
              <a:gd name="connsiteY17" fmla="*/ 1035444 h 1279077"/>
              <a:gd name="connsiteX18" fmla="*/ 748393 w 1110697"/>
              <a:gd name="connsiteY18" fmla="*/ 622263 h 1279077"/>
              <a:gd name="connsiteX19" fmla="*/ 675595 w 1110697"/>
              <a:gd name="connsiteY19" fmla="*/ 476083 h 1279077"/>
              <a:gd name="connsiteX20" fmla="*/ 533844 w 1110697"/>
              <a:gd name="connsiteY20" fmla="*/ 450721 h 1279077"/>
              <a:gd name="connsiteX21" fmla="*/ 302381 w 1110697"/>
              <a:gd name="connsiteY21" fmla="*/ 503766 h 1279077"/>
              <a:gd name="connsiteX22" fmla="*/ 169860 w 1110697"/>
              <a:gd name="connsiteY22" fmla="*/ 523812 h 1279077"/>
              <a:gd name="connsiteX23" fmla="*/ 97064 w 1110697"/>
              <a:gd name="connsiteY23" fmla="*/ 450721 h 1279077"/>
              <a:gd name="connsiteX0" fmla="*/ 97064 w 1043421"/>
              <a:gd name="connsiteY0" fmla="*/ 511629 h 1339985"/>
              <a:gd name="connsiteX1" fmla="*/ 97064 w 1043421"/>
              <a:gd name="connsiteY1" fmla="*/ 511629 h 1339985"/>
              <a:gd name="connsiteX2" fmla="*/ 24266 w 1043421"/>
              <a:gd name="connsiteY2" fmla="*/ 438540 h 1339985"/>
              <a:gd name="connsiteX3" fmla="*/ 24266 w 1043421"/>
              <a:gd name="connsiteY3" fmla="*/ 292360 h 1339985"/>
              <a:gd name="connsiteX4" fmla="*/ 169860 w 1043421"/>
              <a:gd name="connsiteY4" fmla="*/ 219270 h 1339985"/>
              <a:gd name="connsiteX5" fmla="*/ 315454 w 1043421"/>
              <a:gd name="connsiteY5" fmla="*/ 146180 h 1339985"/>
              <a:gd name="connsiteX6" fmla="*/ 426925 w 1043421"/>
              <a:gd name="connsiteY6" fmla="*/ 75717 h 1339985"/>
              <a:gd name="connsiteX7" fmla="*/ 606640 w 1043421"/>
              <a:gd name="connsiteY7" fmla="*/ 73090 h 1339985"/>
              <a:gd name="connsiteX8" fmla="*/ 897828 w 1043421"/>
              <a:gd name="connsiteY8" fmla="*/ 73090 h 1339985"/>
              <a:gd name="connsiteX9" fmla="*/ 1043421 w 1043421"/>
              <a:gd name="connsiteY9" fmla="*/ 511629 h 1339985"/>
              <a:gd name="connsiteX10" fmla="*/ 966783 w 1043421"/>
              <a:gd name="connsiteY10" fmla="*/ 610081 h 1339985"/>
              <a:gd name="connsiteX11" fmla="*/ 821189 w 1043421"/>
              <a:gd name="connsiteY11" fmla="*/ 829352 h 1339985"/>
              <a:gd name="connsiteX12" fmla="*/ 679437 w 1043421"/>
              <a:gd name="connsiteY12" fmla="*/ 1169442 h 1339985"/>
              <a:gd name="connsiteX13" fmla="*/ 461047 w 1043421"/>
              <a:gd name="connsiteY13" fmla="*/ 1315622 h 1339985"/>
              <a:gd name="connsiteX14" fmla="*/ 388251 w 1043421"/>
              <a:gd name="connsiteY14" fmla="*/ 1315621 h 1339985"/>
              <a:gd name="connsiteX15" fmla="*/ 315454 w 1043421"/>
              <a:gd name="connsiteY15" fmla="*/ 1242532 h 1339985"/>
              <a:gd name="connsiteX16" fmla="*/ 315454 w 1043421"/>
              <a:gd name="connsiteY16" fmla="*/ 1096352 h 1339985"/>
              <a:gd name="connsiteX17" fmla="*/ 748393 w 1043421"/>
              <a:gd name="connsiteY17" fmla="*/ 683171 h 1339985"/>
              <a:gd name="connsiteX18" fmla="*/ 675595 w 1043421"/>
              <a:gd name="connsiteY18" fmla="*/ 536991 h 1339985"/>
              <a:gd name="connsiteX19" fmla="*/ 533844 w 1043421"/>
              <a:gd name="connsiteY19" fmla="*/ 511629 h 1339985"/>
              <a:gd name="connsiteX20" fmla="*/ 302381 w 1043421"/>
              <a:gd name="connsiteY20" fmla="*/ 564674 h 1339985"/>
              <a:gd name="connsiteX21" fmla="*/ 169860 w 1043421"/>
              <a:gd name="connsiteY21" fmla="*/ 584720 h 1339985"/>
              <a:gd name="connsiteX22" fmla="*/ 97064 w 1043421"/>
              <a:gd name="connsiteY22" fmla="*/ 511629 h 1339985"/>
              <a:gd name="connsiteX0" fmla="*/ 97064 w 1140484"/>
              <a:gd name="connsiteY0" fmla="*/ 462902 h 1291258"/>
              <a:gd name="connsiteX1" fmla="*/ 97064 w 1140484"/>
              <a:gd name="connsiteY1" fmla="*/ 462902 h 1291258"/>
              <a:gd name="connsiteX2" fmla="*/ 24266 w 1140484"/>
              <a:gd name="connsiteY2" fmla="*/ 389813 h 1291258"/>
              <a:gd name="connsiteX3" fmla="*/ 24266 w 1140484"/>
              <a:gd name="connsiteY3" fmla="*/ 243633 h 1291258"/>
              <a:gd name="connsiteX4" fmla="*/ 169860 w 1140484"/>
              <a:gd name="connsiteY4" fmla="*/ 170543 h 1291258"/>
              <a:gd name="connsiteX5" fmla="*/ 315454 w 1140484"/>
              <a:gd name="connsiteY5" fmla="*/ 97453 h 1291258"/>
              <a:gd name="connsiteX6" fmla="*/ 426925 w 1140484"/>
              <a:gd name="connsiteY6" fmla="*/ 26990 h 1291258"/>
              <a:gd name="connsiteX7" fmla="*/ 606640 w 1140484"/>
              <a:gd name="connsiteY7" fmla="*/ 24363 h 1291258"/>
              <a:gd name="connsiteX8" fmla="*/ 897828 w 1140484"/>
              <a:gd name="connsiteY8" fmla="*/ 24363 h 1291258"/>
              <a:gd name="connsiteX9" fmla="*/ 1116218 w 1140484"/>
              <a:gd name="connsiteY9" fmla="*/ 170543 h 1291258"/>
              <a:gd name="connsiteX10" fmla="*/ 1043421 w 1140484"/>
              <a:gd name="connsiteY10" fmla="*/ 462902 h 1291258"/>
              <a:gd name="connsiteX11" fmla="*/ 966783 w 1140484"/>
              <a:gd name="connsiteY11" fmla="*/ 561354 h 1291258"/>
              <a:gd name="connsiteX12" fmla="*/ 821189 w 1140484"/>
              <a:gd name="connsiteY12" fmla="*/ 780625 h 1291258"/>
              <a:gd name="connsiteX13" fmla="*/ 679437 w 1140484"/>
              <a:gd name="connsiteY13" fmla="*/ 1120715 h 1291258"/>
              <a:gd name="connsiteX14" fmla="*/ 461047 w 1140484"/>
              <a:gd name="connsiteY14" fmla="*/ 1266895 h 1291258"/>
              <a:gd name="connsiteX15" fmla="*/ 388251 w 1140484"/>
              <a:gd name="connsiteY15" fmla="*/ 1266894 h 1291258"/>
              <a:gd name="connsiteX16" fmla="*/ 315454 w 1140484"/>
              <a:gd name="connsiteY16" fmla="*/ 1193805 h 1291258"/>
              <a:gd name="connsiteX17" fmla="*/ 315454 w 1140484"/>
              <a:gd name="connsiteY17" fmla="*/ 1047625 h 1291258"/>
              <a:gd name="connsiteX18" fmla="*/ 748393 w 1140484"/>
              <a:gd name="connsiteY18" fmla="*/ 634444 h 1291258"/>
              <a:gd name="connsiteX19" fmla="*/ 675595 w 1140484"/>
              <a:gd name="connsiteY19" fmla="*/ 488264 h 1291258"/>
              <a:gd name="connsiteX20" fmla="*/ 533844 w 1140484"/>
              <a:gd name="connsiteY20" fmla="*/ 462902 h 1291258"/>
              <a:gd name="connsiteX21" fmla="*/ 302381 w 1140484"/>
              <a:gd name="connsiteY21" fmla="*/ 515947 h 1291258"/>
              <a:gd name="connsiteX22" fmla="*/ 169860 w 1140484"/>
              <a:gd name="connsiteY22" fmla="*/ 535993 h 1291258"/>
              <a:gd name="connsiteX23" fmla="*/ 97064 w 1140484"/>
              <a:gd name="connsiteY23" fmla="*/ 462902 h 12912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140484" h="1291258">
                <a:moveTo>
                  <a:pt x="97064" y="462902"/>
                </a:moveTo>
                <a:lnTo>
                  <a:pt x="97064" y="462902"/>
                </a:lnTo>
                <a:cubicBezTo>
                  <a:pt x="72798" y="462902"/>
                  <a:pt x="48281" y="414496"/>
                  <a:pt x="24266" y="389813"/>
                </a:cubicBezTo>
                <a:cubicBezTo>
                  <a:pt x="2730" y="361832"/>
                  <a:pt x="0" y="280178"/>
                  <a:pt x="24266" y="243633"/>
                </a:cubicBezTo>
                <a:cubicBezTo>
                  <a:pt x="48532" y="207088"/>
                  <a:pt x="121329" y="194906"/>
                  <a:pt x="169860" y="170543"/>
                </a:cubicBezTo>
                <a:cubicBezTo>
                  <a:pt x="218391" y="146180"/>
                  <a:pt x="272610" y="121378"/>
                  <a:pt x="315454" y="97453"/>
                </a:cubicBezTo>
                <a:cubicBezTo>
                  <a:pt x="358298" y="73528"/>
                  <a:pt x="378394" y="39172"/>
                  <a:pt x="426925" y="26990"/>
                </a:cubicBezTo>
                <a:cubicBezTo>
                  <a:pt x="475456" y="14808"/>
                  <a:pt x="528156" y="24801"/>
                  <a:pt x="606640" y="24363"/>
                </a:cubicBezTo>
                <a:cubicBezTo>
                  <a:pt x="685124" y="23925"/>
                  <a:pt x="812898" y="0"/>
                  <a:pt x="897828" y="24363"/>
                </a:cubicBezTo>
                <a:cubicBezTo>
                  <a:pt x="982758" y="48726"/>
                  <a:pt x="1091952" y="97453"/>
                  <a:pt x="1116218" y="170543"/>
                </a:cubicBezTo>
                <a:cubicBezTo>
                  <a:pt x="1140484" y="243633"/>
                  <a:pt x="1047810" y="408755"/>
                  <a:pt x="1043421" y="462902"/>
                </a:cubicBezTo>
                <a:cubicBezTo>
                  <a:pt x="1030648" y="540219"/>
                  <a:pt x="998301" y="499414"/>
                  <a:pt x="966783" y="561354"/>
                </a:cubicBezTo>
                <a:cubicBezTo>
                  <a:pt x="904859" y="672411"/>
                  <a:pt x="906119" y="683171"/>
                  <a:pt x="821189" y="780625"/>
                </a:cubicBezTo>
                <a:cubicBezTo>
                  <a:pt x="766585" y="851840"/>
                  <a:pt x="763726" y="1015307"/>
                  <a:pt x="679437" y="1120715"/>
                </a:cubicBezTo>
                <a:cubicBezTo>
                  <a:pt x="619413" y="1213942"/>
                  <a:pt x="509578" y="1242532"/>
                  <a:pt x="461047" y="1266895"/>
                </a:cubicBezTo>
                <a:cubicBezTo>
                  <a:pt x="412516" y="1291258"/>
                  <a:pt x="412516" y="1279076"/>
                  <a:pt x="388251" y="1266894"/>
                </a:cubicBezTo>
                <a:cubicBezTo>
                  <a:pt x="363986" y="1254712"/>
                  <a:pt x="327587" y="1230350"/>
                  <a:pt x="315454" y="1193805"/>
                </a:cubicBezTo>
                <a:cubicBezTo>
                  <a:pt x="303321" y="1157260"/>
                  <a:pt x="243298" y="1140852"/>
                  <a:pt x="315454" y="1047625"/>
                </a:cubicBezTo>
                <a:cubicBezTo>
                  <a:pt x="387610" y="954398"/>
                  <a:pt x="688370" y="727671"/>
                  <a:pt x="748393" y="634444"/>
                </a:cubicBezTo>
                <a:cubicBezTo>
                  <a:pt x="808416" y="541217"/>
                  <a:pt x="711353" y="516854"/>
                  <a:pt x="675595" y="488264"/>
                </a:cubicBezTo>
                <a:cubicBezTo>
                  <a:pt x="639837" y="459674"/>
                  <a:pt x="596046" y="458288"/>
                  <a:pt x="533844" y="462902"/>
                </a:cubicBezTo>
                <a:cubicBezTo>
                  <a:pt x="471642" y="467516"/>
                  <a:pt x="363045" y="503765"/>
                  <a:pt x="302381" y="515947"/>
                </a:cubicBezTo>
                <a:cubicBezTo>
                  <a:pt x="241717" y="528129"/>
                  <a:pt x="204079" y="544834"/>
                  <a:pt x="169860" y="535993"/>
                </a:cubicBezTo>
                <a:lnTo>
                  <a:pt x="97064" y="462902"/>
                </a:lnTo>
                <a:close/>
              </a:path>
            </a:pathLst>
          </a:custGeom>
          <a:solidFill>
            <a:schemeClr val="tx2">
              <a:lumMod val="60000"/>
              <a:lumOff val="40000"/>
              <a:alpha val="26000"/>
            </a:schemeClr>
          </a:solidFill>
          <a:ln w="254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prstClr val="black"/>
              </a:solidFill>
            </a:endParaRPr>
          </a:p>
        </p:txBody>
      </p:sp>
      <p:pic>
        <p:nvPicPr>
          <p:cNvPr id="7171" name="Picture 4" descr="Терновской  район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3388" y="712788"/>
            <a:ext cx="6170612" cy="6157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72" name="Oval 22"/>
          <p:cNvSpPr>
            <a:spLocks noChangeArrowheads="1"/>
          </p:cNvSpPr>
          <p:nvPr/>
        </p:nvSpPr>
        <p:spPr bwMode="auto">
          <a:xfrm>
            <a:off x="5695950" y="4752975"/>
            <a:ext cx="331788" cy="333375"/>
          </a:xfrm>
          <a:prstGeom prst="ellipse">
            <a:avLst/>
          </a:prstGeom>
          <a:solidFill>
            <a:srgbClr val="FF0000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ru-RU" altLang="ru-RU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7173" name="Rectangle 35"/>
          <p:cNvSpPr>
            <a:spLocks noChangeArrowheads="1"/>
          </p:cNvSpPr>
          <p:nvPr/>
        </p:nvSpPr>
        <p:spPr bwMode="auto">
          <a:xfrm>
            <a:off x="-36513" y="4919663"/>
            <a:ext cx="3009901" cy="554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tabLst>
                <a:tab pos="2797175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tabLst>
                <a:tab pos="2797175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tabLst>
                <a:tab pos="2797175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tabLst>
                <a:tab pos="2797175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tabLst>
                <a:tab pos="2797175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tabLst>
                <a:tab pos="2797175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tabLst>
                <a:tab pos="2797175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tabLst>
                <a:tab pos="2797175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tabLst>
                <a:tab pos="2797175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uk-UA" altLang="ru-RU" sz="120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	</a:t>
            </a:r>
            <a:endParaRPr lang="ru-RU" altLang="ru-RU" sz="60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  <a:p>
            <a:pPr eaLnBrk="0" hangingPunct="0"/>
            <a:endParaRPr lang="ru-RU" altLang="ru-RU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</p:txBody>
      </p:sp>
      <p:sp>
        <p:nvSpPr>
          <p:cNvPr id="7174" name="Oval 31"/>
          <p:cNvSpPr>
            <a:spLocks noChangeArrowheads="1"/>
          </p:cNvSpPr>
          <p:nvPr/>
        </p:nvSpPr>
        <p:spPr bwMode="auto">
          <a:xfrm>
            <a:off x="8259763" y="1116013"/>
            <a:ext cx="357187" cy="311150"/>
          </a:xfrm>
          <a:prstGeom prst="ellipse">
            <a:avLst/>
          </a:prstGeom>
          <a:solidFill>
            <a:srgbClr val="FF0000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Aft>
                <a:spcPts val="1000"/>
              </a:spcAft>
            </a:pPr>
            <a:r>
              <a:rPr lang="uk-UA" altLang="ru-RU" sz="1200" b="1">
                <a:solidFill>
                  <a:srgbClr val="000000"/>
                </a:solidFill>
              </a:rPr>
              <a:t>3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7175" name="Oval 32"/>
          <p:cNvSpPr>
            <a:spLocks noChangeArrowheads="1"/>
          </p:cNvSpPr>
          <p:nvPr/>
        </p:nvSpPr>
        <p:spPr bwMode="auto">
          <a:xfrm>
            <a:off x="8616950" y="1622425"/>
            <a:ext cx="388938" cy="311150"/>
          </a:xfrm>
          <a:prstGeom prst="ellipse">
            <a:avLst/>
          </a:prstGeom>
          <a:solidFill>
            <a:srgbClr val="FF0000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Aft>
                <a:spcPts val="1000"/>
              </a:spcAft>
            </a:pPr>
            <a:r>
              <a:rPr lang="uk-UA" altLang="ru-RU" sz="1200" b="1">
                <a:solidFill>
                  <a:srgbClr val="000000"/>
                </a:solidFill>
              </a:rPr>
              <a:t>4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7176" name="Oval 33"/>
          <p:cNvSpPr>
            <a:spLocks noChangeArrowheads="1"/>
          </p:cNvSpPr>
          <p:nvPr/>
        </p:nvSpPr>
        <p:spPr bwMode="auto">
          <a:xfrm>
            <a:off x="7948613" y="1663700"/>
            <a:ext cx="311150" cy="311150"/>
          </a:xfrm>
          <a:prstGeom prst="ellipse">
            <a:avLst/>
          </a:prstGeom>
          <a:solidFill>
            <a:srgbClr val="FFFFFF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Aft>
                <a:spcPts val="1000"/>
              </a:spcAft>
            </a:pPr>
            <a:r>
              <a:rPr lang="uk-UA" altLang="ru-RU" sz="1200" b="1">
                <a:solidFill>
                  <a:srgbClr val="000000"/>
                </a:solidFill>
              </a:rPr>
              <a:t>1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7177" name="Oval 34"/>
          <p:cNvSpPr>
            <a:spLocks noChangeArrowheads="1"/>
          </p:cNvSpPr>
          <p:nvPr/>
        </p:nvSpPr>
        <p:spPr bwMode="auto">
          <a:xfrm>
            <a:off x="3649663" y="1662113"/>
            <a:ext cx="346075" cy="311150"/>
          </a:xfrm>
          <a:prstGeom prst="ellipse">
            <a:avLst/>
          </a:prstGeom>
          <a:solidFill>
            <a:srgbClr val="FFC000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Aft>
                <a:spcPts val="1000"/>
              </a:spcAft>
            </a:pPr>
            <a:r>
              <a:rPr lang="uk-UA" altLang="ru-RU" sz="1200" b="1">
                <a:solidFill>
                  <a:srgbClr val="000000"/>
                </a:solidFill>
              </a:rPr>
              <a:t>5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7178" name="Oval 35"/>
          <p:cNvSpPr>
            <a:spLocks noChangeArrowheads="1"/>
          </p:cNvSpPr>
          <p:nvPr/>
        </p:nvSpPr>
        <p:spPr bwMode="auto">
          <a:xfrm>
            <a:off x="4427538" y="1506538"/>
            <a:ext cx="288925" cy="311150"/>
          </a:xfrm>
          <a:prstGeom prst="ellipse">
            <a:avLst/>
          </a:prstGeom>
          <a:solidFill>
            <a:srgbClr val="FFFFFF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Aft>
                <a:spcPts val="1000"/>
              </a:spcAft>
            </a:pPr>
            <a:r>
              <a:rPr lang="uk-UA" altLang="ru-RU" sz="1200" b="1">
                <a:solidFill>
                  <a:srgbClr val="000000"/>
                </a:solidFill>
              </a:rPr>
              <a:t>2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7179" name="Oval 36"/>
          <p:cNvSpPr>
            <a:spLocks noChangeArrowheads="1"/>
          </p:cNvSpPr>
          <p:nvPr/>
        </p:nvSpPr>
        <p:spPr bwMode="auto">
          <a:xfrm>
            <a:off x="6227763" y="1944688"/>
            <a:ext cx="333375" cy="311150"/>
          </a:xfrm>
          <a:prstGeom prst="ellipse">
            <a:avLst/>
          </a:prstGeom>
          <a:solidFill>
            <a:srgbClr val="FFC000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Aft>
                <a:spcPts val="1000"/>
              </a:spcAft>
            </a:pPr>
            <a:r>
              <a:rPr lang="uk-UA" altLang="ru-RU" sz="1200" b="1">
                <a:solidFill>
                  <a:srgbClr val="000000"/>
                </a:solidFill>
              </a:rPr>
              <a:t>6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7180" name="Rectangle 23"/>
          <p:cNvSpPr>
            <a:spLocks noChangeArrowheads="1"/>
          </p:cNvSpPr>
          <p:nvPr/>
        </p:nvSpPr>
        <p:spPr bwMode="auto">
          <a:xfrm>
            <a:off x="31750" y="-26988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ru-RU" altLang="ru-RU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7181" name="Rectangle 34"/>
          <p:cNvSpPr>
            <a:spLocks noChangeArrowheads="1"/>
          </p:cNvSpPr>
          <p:nvPr/>
        </p:nvSpPr>
        <p:spPr bwMode="auto">
          <a:xfrm>
            <a:off x="31750" y="131763"/>
            <a:ext cx="18415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ru-RU" altLang="ru-RU">
              <a:solidFill>
                <a:srgbClr val="000000"/>
              </a:solidFill>
            </a:endParaRPr>
          </a:p>
        </p:txBody>
      </p:sp>
      <p:graphicFrame>
        <p:nvGraphicFramePr>
          <p:cNvPr id="31" name="Таблица 30"/>
          <p:cNvGraphicFramePr>
            <a:graphicFrameLocks noGrp="1"/>
          </p:cNvGraphicFramePr>
          <p:nvPr/>
        </p:nvGraphicFramePr>
        <p:xfrm>
          <a:off x="0" y="9016"/>
          <a:ext cx="9175221" cy="731520"/>
        </p:xfrm>
        <a:graphic>
          <a:graphicData uri="http://schemas.openxmlformats.org/drawingml/2006/table">
            <a:tbl>
              <a:tblPr/>
              <a:tblGrid>
                <a:gridCol w="9175221"/>
              </a:tblGrid>
              <a:tr h="47873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Комунальна установа «Центр первинної медико-санітарної допомоги №1» Населення – 44 531 осіб</a:t>
                      </a:r>
                      <a:endParaRPr kumimoji="0" lang="ru-RU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8488C4">
                            <a:alpha val="89000"/>
                          </a:srgbClr>
                        </a:gs>
                        <a:gs pos="53000">
                          <a:srgbClr val="D4DEFF"/>
                        </a:gs>
                        <a:gs pos="83000">
                          <a:srgbClr val="D4DEFF"/>
                        </a:gs>
                        <a:gs pos="100000">
                          <a:srgbClr val="96AB94"/>
                        </a:gs>
                      </a:gsLst>
                      <a:lin ang="5400000" scaled="0"/>
                    </a:gradFill>
                  </a:tcPr>
                </a:tc>
              </a:tr>
            </a:tbl>
          </a:graphicData>
        </a:graphic>
      </p:graphicFrame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139700" y="2535238"/>
          <a:ext cx="2387600" cy="981456"/>
        </p:xfrm>
        <a:graphic>
          <a:graphicData uri="http://schemas.openxmlformats.org/drawingml/2006/table">
            <a:tbl>
              <a:tblPr firstRow="1" firstCol="1" bandRow="1"/>
              <a:tblGrid>
                <a:gridCol w="1179474"/>
                <a:gridCol w="1208126"/>
              </a:tblGrid>
              <a:tr h="49053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err="1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Підрозділи</a:t>
                      </a:r>
                      <a:r>
                        <a:rPr lang="ru-RU" sz="1400" b="1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ru-RU" sz="1400" b="1" dirty="0" err="1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сьогодні</a:t>
                      </a:r>
                      <a:r>
                        <a:rPr lang="ru-RU" sz="1400" b="1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 </a:t>
                      </a:r>
                      <a:endParaRPr lang="ru-RU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609" marR="6860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err="1">
                          <a:effectLst/>
                          <a:latin typeface="+mn-lt"/>
                          <a:ea typeface="Calibri"/>
                          <a:cs typeface="Times New Roman"/>
                        </a:rPr>
                        <a:t>Населення</a:t>
                      </a:r>
                      <a:r>
                        <a:rPr lang="ru-RU" sz="1400" b="1" dirty="0">
                          <a:effectLst/>
                          <a:latin typeface="+mn-lt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uk-UA" sz="1400" b="1" dirty="0">
                          <a:effectLst/>
                          <a:latin typeface="+mn-lt"/>
                          <a:ea typeface="Calibri"/>
                          <a:cs typeface="Times New Roman"/>
                        </a:rPr>
                        <a:t>сьогодні</a:t>
                      </a:r>
                      <a:endParaRPr lang="ru-RU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609" marR="6860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26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err="1">
                          <a:effectLst/>
                          <a:latin typeface="+mn-lt"/>
                          <a:ea typeface="Calibri"/>
                          <a:cs typeface="Times New Roman"/>
                        </a:rPr>
                        <a:t>Амб</a:t>
                      </a:r>
                      <a:r>
                        <a:rPr lang="uk-UA" sz="1400" b="1" dirty="0">
                          <a:effectLst/>
                          <a:latin typeface="+mn-lt"/>
                          <a:ea typeface="Calibri"/>
                          <a:cs typeface="Times New Roman"/>
                        </a:rPr>
                        <a:t>. </a:t>
                      </a:r>
                      <a:r>
                        <a:rPr lang="ru-RU" sz="1400" b="1" dirty="0">
                          <a:effectLst/>
                          <a:latin typeface="+mn-lt"/>
                          <a:ea typeface="Calibri"/>
                          <a:cs typeface="Times New Roman"/>
                        </a:rPr>
                        <a:t>№1</a:t>
                      </a:r>
                      <a:endParaRPr lang="ru-RU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609" marR="6860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+mn-lt"/>
                          <a:ea typeface="Calibri"/>
                          <a:cs typeface="Times New Roman"/>
                        </a:rPr>
                        <a:t>29721</a:t>
                      </a:r>
                      <a:endParaRPr lang="ru-RU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609" marR="6860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26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+mn-lt"/>
                          <a:ea typeface="Calibri"/>
                          <a:cs typeface="Times New Roman"/>
                        </a:rPr>
                        <a:t>Амб</a:t>
                      </a:r>
                      <a:r>
                        <a:rPr lang="uk-UA" sz="1400" b="1">
                          <a:effectLst/>
                          <a:latin typeface="+mn-lt"/>
                          <a:ea typeface="Calibri"/>
                          <a:cs typeface="Times New Roman"/>
                        </a:rPr>
                        <a:t>.</a:t>
                      </a:r>
                      <a:r>
                        <a:rPr lang="ru-RU" sz="1400" b="1">
                          <a:effectLst/>
                          <a:latin typeface="+mn-lt"/>
                          <a:ea typeface="Calibri"/>
                          <a:cs typeface="Times New Roman"/>
                        </a:rPr>
                        <a:t>№2</a:t>
                      </a:r>
                      <a:endParaRPr lang="ru-RU" sz="110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609" marR="6860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+mn-lt"/>
                          <a:ea typeface="Calibri"/>
                          <a:cs typeface="Times New Roman"/>
                        </a:rPr>
                        <a:t>14810</a:t>
                      </a:r>
                      <a:endParaRPr lang="ru-RU" sz="11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609" marR="6860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197" name="Объект 7"/>
          <p:cNvGraphicFramePr>
            <a:graphicFrameLocks noChangeAspect="1"/>
          </p:cNvGraphicFramePr>
          <p:nvPr/>
        </p:nvGraphicFramePr>
        <p:xfrm>
          <a:off x="136525" y="881063"/>
          <a:ext cx="6091238" cy="18732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7" name="Документ" r:id="rId5" imgW="6090910" imgH="1873711" progId="Word.Document.12">
                  <p:embed/>
                </p:oleObj>
              </mc:Choice>
              <mc:Fallback>
                <p:oleObj name="Документ" r:id="rId5" imgW="6090910" imgH="1873711" progId="Word.Document.12">
                  <p:embed/>
                  <p:pic>
                    <p:nvPicPr>
                      <p:cNvPr id="0" name="Объект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6525" y="881063"/>
                        <a:ext cx="6091238" cy="18732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195263" y="3981450"/>
          <a:ext cx="2647950" cy="2208276"/>
        </p:xfrm>
        <a:graphic>
          <a:graphicData uri="http://schemas.openxmlformats.org/drawingml/2006/table">
            <a:tbl>
              <a:tblPr firstRow="1" firstCol="1" bandRow="1"/>
              <a:tblGrid>
                <a:gridCol w="1279864"/>
                <a:gridCol w="1368086"/>
              </a:tblGrid>
              <a:tr h="49071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Підрозділи у майбутньому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7" marR="6857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Населення</a:t>
                      </a: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 в майбутньому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7" marR="6857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35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</a:t>
                      </a: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. </a:t>
                      </a:r>
                      <a:r>
                        <a:rPr lang="ru-RU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 №1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7" marR="6857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8 тис.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7" marR="6857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35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</a:t>
                      </a: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. </a:t>
                      </a:r>
                      <a:r>
                        <a:rPr lang="ru-RU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№2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7" marR="6857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7 тис.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7" marR="6857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35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М</a:t>
                      </a: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/п </a:t>
                      </a:r>
                      <a:r>
                        <a:rPr lang="ru-RU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</a:t>
                      </a: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.</a:t>
                      </a:r>
                      <a:r>
                        <a:rPr lang="ru-RU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№2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7" marR="6857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 2,5 тис.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7" marR="6857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35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</a:t>
                      </a: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.</a:t>
                      </a:r>
                      <a:r>
                        <a:rPr lang="ru-RU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 №3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7" marR="6857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6 тис.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7" marR="6857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35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</a:t>
                      </a: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. </a:t>
                      </a:r>
                      <a:r>
                        <a:rPr lang="ru-RU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№4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7" marR="6857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6 тис.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7" marR="6857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35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</a:t>
                      </a: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. </a:t>
                      </a:r>
                      <a:r>
                        <a:rPr lang="ru-RU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№5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7" marR="6857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5 тис.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7" marR="6857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35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</a:t>
                      </a: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. </a:t>
                      </a:r>
                      <a:r>
                        <a:rPr lang="ru-RU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№6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7" marR="6857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9 тис.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77" marR="6857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Полилиния 16"/>
          <p:cNvSpPr>
            <a:spLocks noChangeArrowheads="1"/>
          </p:cNvSpPr>
          <p:nvPr/>
        </p:nvSpPr>
        <p:spPr bwMode="auto">
          <a:xfrm>
            <a:off x="6400800" y="917575"/>
            <a:ext cx="1503363" cy="1103313"/>
          </a:xfrm>
          <a:custGeom>
            <a:avLst/>
            <a:gdLst>
              <a:gd name="T0" fmla="*/ 1382953 w 1127309"/>
              <a:gd name="T1" fmla="*/ 44318 h 1592420"/>
              <a:gd name="T2" fmla="*/ 1457058 w 1127309"/>
              <a:gd name="T3" fmla="*/ 203007 h 1592420"/>
              <a:gd name="T4" fmla="*/ 1391186 w 1127309"/>
              <a:gd name="T5" fmla="*/ 280206 h 1592420"/>
              <a:gd name="T6" fmla="*/ 1432357 w 1127309"/>
              <a:gd name="T7" fmla="*/ 396006 h 1592420"/>
              <a:gd name="T8" fmla="*/ 1358250 w 1127309"/>
              <a:gd name="T9" fmla="*/ 498938 h 1592420"/>
              <a:gd name="T10" fmla="*/ 1185341 w 1127309"/>
              <a:gd name="T11" fmla="*/ 524672 h 1592420"/>
              <a:gd name="T12" fmla="*/ 1086536 w 1127309"/>
              <a:gd name="T13" fmla="*/ 486072 h 1592420"/>
              <a:gd name="T14" fmla="*/ 1028898 w 1127309"/>
              <a:gd name="T15" fmla="*/ 554694 h 1592420"/>
              <a:gd name="T16" fmla="*/ 995964 w 1127309"/>
              <a:gd name="T17" fmla="*/ 670493 h 1592420"/>
              <a:gd name="T18" fmla="*/ 905392 w 1127309"/>
              <a:gd name="T19" fmla="*/ 751983 h 1592420"/>
              <a:gd name="T20" fmla="*/ 855988 w 1127309"/>
              <a:gd name="T21" fmla="*/ 850627 h 1592420"/>
              <a:gd name="T22" fmla="*/ 791117 w 1127309"/>
              <a:gd name="T23" fmla="*/ 864071 h 1592420"/>
              <a:gd name="T24" fmla="*/ 742745 w 1127309"/>
              <a:gd name="T25" fmla="*/ 890340 h 1592420"/>
              <a:gd name="T26" fmla="*/ 740716 w 1127309"/>
              <a:gd name="T27" fmla="*/ 897804 h 1592420"/>
              <a:gd name="T28" fmla="*/ 569835 w 1127309"/>
              <a:gd name="T29" fmla="*/ 979717 h 1592420"/>
              <a:gd name="T30" fmla="*/ 362961 w 1127309"/>
              <a:gd name="T31" fmla="*/ 1078899 h 1592420"/>
              <a:gd name="T32" fmla="*/ 123183 w 1127309"/>
              <a:gd name="T33" fmla="*/ 820605 h 1592420"/>
              <a:gd name="T34" fmla="*/ 73777 w 1127309"/>
              <a:gd name="T35" fmla="*/ 734827 h 1592420"/>
              <a:gd name="T36" fmla="*/ 40843 w 1127309"/>
              <a:gd name="T37" fmla="*/ 649049 h 1592420"/>
              <a:gd name="T38" fmla="*/ 139648 w 1127309"/>
              <a:gd name="T39" fmla="*/ 541828 h 1592420"/>
              <a:gd name="T40" fmla="*/ 403131 w 1127309"/>
              <a:gd name="T41" fmla="*/ 404584 h 1592420"/>
              <a:gd name="T42" fmla="*/ 345494 w 1127309"/>
              <a:gd name="T43" fmla="*/ 258762 h 1592420"/>
              <a:gd name="T44" fmla="*/ 230221 w 1127309"/>
              <a:gd name="T45" fmla="*/ 104362 h 1592420"/>
              <a:gd name="T46" fmla="*/ 361962 w 1127309"/>
              <a:gd name="T47" fmla="*/ 57185 h 1592420"/>
              <a:gd name="T48" fmla="*/ 740715 w 1127309"/>
              <a:gd name="T49" fmla="*/ 1430 h 1592420"/>
              <a:gd name="T50" fmla="*/ 1382953 w 1127309"/>
              <a:gd name="T51" fmla="*/ 44318 h 1592420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127309"/>
              <a:gd name="T79" fmla="*/ 0 h 1592420"/>
              <a:gd name="T80" fmla="*/ 1127309 w 1127309"/>
              <a:gd name="T81" fmla="*/ 1592420 h 1592420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127309" h="1592420">
                <a:moveTo>
                  <a:pt x="1037723" y="63843"/>
                </a:moveTo>
                <a:cubicBezTo>
                  <a:pt x="1127309" y="112240"/>
                  <a:pt x="1092298" y="235808"/>
                  <a:pt x="1093328" y="292443"/>
                </a:cubicBezTo>
                <a:cubicBezTo>
                  <a:pt x="1094358" y="349078"/>
                  <a:pt x="1046990" y="357316"/>
                  <a:pt x="1043901" y="403654"/>
                </a:cubicBezTo>
                <a:cubicBezTo>
                  <a:pt x="1040812" y="449992"/>
                  <a:pt x="1078912" y="517954"/>
                  <a:pt x="1074793" y="570470"/>
                </a:cubicBezTo>
                <a:cubicBezTo>
                  <a:pt x="1070674" y="622986"/>
                  <a:pt x="1050079" y="687859"/>
                  <a:pt x="1019187" y="718751"/>
                </a:cubicBezTo>
                <a:cubicBezTo>
                  <a:pt x="988295" y="749643"/>
                  <a:pt x="923422" y="758911"/>
                  <a:pt x="889441" y="755822"/>
                </a:cubicBezTo>
                <a:cubicBezTo>
                  <a:pt x="855460" y="752733"/>
                  <a:pt x="834866" y="693008"/>
                  <a:pt x="815301" y="700216"/>
                </a:cubicBezTo>
                <a:cubicBezTo>
                  <a:pt x="795736" y="707424"/>
                  <a:pt x="783379" y="754792"/>
                  <a:pt x="772052" y="799070"/>
                </a:cubicBezTo>
                <a:cubicBezTo>
                  <a:pt x="760725" y="843348"/>
                  <a:pt x="762785" y="918518"/>
                  <a:pt x="747339" y="965886"/>
                </a:cubicBezTo>
                <a:cubicBezTo>
                  <a:pt x="731893" y="1013254"/>
                  <a:pt x="696882" y="1040027"/>
                  <a:pt x="679377" y="1083276"/>
                </a:cubicBezTo>
                <a:cubicBezTo>
                  <a:pt x="661872" y="1126525"/>
                  <a:pt x="656597" y="1198467"/>
                  <a:pt x="642306" y="1225378"/>
                </a:cubicBezTo>
                <a:cubicBezTo>
                  <a:pt x="628015" y="1252289"/>
                  <a:pt x="607791" y="1235210"/>
                  <a:pt x="593629" y="1244745"/>
                </a:cubicBezTo>
                <a:cubicBezTo>
                  <a:pt x="579467" y="1254280"/>
                  <a:pt x="563635" y="1274489"/>
                  <a:pt x="557332" y="1282588"/>
                </a:cubicBezTo>
                <a:cubicBezTo>
                  <a:pt x="551029" y="1290687"/>
                  <a:pt x="577434" y="1271881"/>
                  <a:pt x="555810" y="1293340"/>
                </a:cubicBezTo>
                <a:cubicBezTo>
                  <a:pt x="534186" y="1314799"/>
                  <a:pt x="474829" y="1367861"/>
                  <a:pt x="427586" y="1411341"/>
                </a:cubicBezTo>
                <a:cubicBezTo>
                  <a:pt x="380343" y="1454821"/>
                  <a:pt x="328212" y="1592420"/>
                  <a:pt x="272353" y="1554218"/>
                </a:cubicBezTo>
                <a:cubicBezTo>
                  <a:pt x="216494" y="1516016"/>
                  <a:pt x="0" y="1356788"/>
                  <a:pt x="92432" y="1182130"/>
                </a:cubicBezTo>
                <a:cubicBezTo>
                  <a:pt x="56266" y="1099521"/>
                  <a:pt x="65657" y="1099751"/>
                  <a:pt x="55360" y="1058562"/>
                </a:cubicBezTo>
                <a:cubicBezTo>
                  <a:pt x="45063" y="1017373"/>
                  <a:pt x="22409" y="981332"/>
                  <a:pt x="30647" y="934994"/>
                </a:cubicBezTo>
                <a:cubicBezTo>
                  <a:pt x="38885" y="888656"/>
                  <a:pt x="59479" y="839230"/>
                  <a:pt x="104787" y="780535"/>
                </a:cubicBezTo>
                <a:cubicBezTo>
                  <a:pt x="150095" y="721841"/>
                  <a:pt x="276753" y="650789"/>
                  <a:pt x="302496" y="582827"/>
                </a:cubicBezTo>
                <a:cubicBezTo>
                  <a:pt x="328239" y="514865"/>
                  <a:pt x="280871" y="444843"/>
                  <a:pt x="259247" y="372762"/>
                </a:cubicBezTo>
                <a:cubicBezTo>
                  <a:pt x="237623" y="300681"/>
                  <a:pt x="170691" y="198737"/>
                  <a:pt x="172750" y="150340"/>
                </a:cubicBezTo>
                <a:cubicBezTo>
                  <a:pt x="174809" y="101943"/>
                  <a:pt x="207761" y="107091"/>
                  <a:pt x="271604" y="82378"/>
                </a:cubicBezTo>
                <a:cubicBezTo>
                  <a:pt x="335447" y="57665"/>
                  <a:pt x="427093" y="4118"/>
                  <a:pt x="555809" y="2059"/>
                </a:cubicBezTo>
                <a:cubicBezTo>
                  <a:pt x="684525" y="0"/>
                  <a:pt x="948137" y="15446"/>
                  <a:pt x="1037723" y="63843"/>
                </a:cubicBezTo>
                <a:close/>
              </a:path>
            </a:pathLst>
          </a:custGeom>
          <a:solidFill>
            <a:srgbClr val="FF0000">
              <a:alpha val="34117"/>
            </a:srgbClr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/>
          <a:lstStyle/>
          <a:p>
            <a:endParaRPr lang="ru-RU"/>
          </a:p>
        </p:txBody>
      </p:sp>
      <p:pic>
        <p:nvPicPr>
          <p:cNvPr id="8195" name="Рисунок 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68625" y="631825"/>
            <a:ext cx="6175375" cy="6186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96" name="Rectangle 328"/>
          <p:cNvSpPr>
            <a:spLocks noChangeArrowheads="1"/>
          </p:cNvSpPr>
          <p:nvPr/>
        </p:nvSpPr>
        <p:spPr bwMode="auto">
          <a:xfrm>
            <a:off x="0" y="261938"/>
            <a:ext cx="18415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8197" name="Oval 343"/>
          <p:cNvSpPr>
            <a:spLocks noChangeArrowheads="1"/>
          </p:cNvSpPr>
          <p:nvPr/>
        </p:nvSpPr>
        <p:spPr bwMode="auto">
          <a:xfrm>
            <a:off x="5349875" y="1184275"/>
            <a:ext cx="412750" cy="311150"/>
          </a:xfrm>
          <a:prstGeom prst="ellipse">
            <a:avLst/>
          </a:prstGeom>
          <a:solidFill>
            <a:srgbClr val="FFC000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Aft>
                <a:spcPts val="1000"/>
              </a:spcAft>
            </a:pPr>
            <a:r>
              <a:rPr lang="uk-UA" altLang="ru-RU" sz="1200" b="1">
                <a:solidFill>
                  <a:srgbClr val="000000"/>
                </a:solidFill>
                <a:latin typeface="Arial" charset="0"/>
              </a:rPr>
              <a:t>7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8198" name="Oval 344"/>
          <p:cNvSpPr>
            <a:spLocks noChangeArrowheads="1"/>
          </p:cNvSpPr>
          <p:nvPr/>
        </p:nvSpPr>
        <p:spPr bwMode="auto">
          <a:xfrm>
            <a:off x="7491413" y="2298700"/>
            <a:ext cx="412750" cy="311150"/>
          </a:xfrm>
          <a:prstGeom prst="ellipse">
            <a:avLst/>
          </a:prstGeom>
          <a:solidFill>
            <a:srgbClr val="FFFFFF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Aft>
                <a:spcPts val="1000"/>
              </a:spcAft>
            </a:pPr>
            <a:r>
              <a:rPr lang="en-US" altLang="ru-RU" sz="1200" b="1">
                <a:solidFill>
                  <a:srgbClr val="000000"/>
                </a:solidFill>
              </a:rPr>
              <a:t>2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8199" name="Oval 345"/>
          <p:cNvSpPr>
            <a:spLocks noChangeArrowheads="1"/>
          </p:cNvSpPr>
          <p:nvPr/>
        </p:nvSpPr>
        <p:spPr bwMode="auto">
          <a:xfrm>
            <a:off x="6588125" y="2390775"/>
            <a:ext cx="412750" cy="311150"/>
          </a:xfrm>
          <a:prstGeom prst="ellipse">
            <a:avLst/>
          </a:prstGeom>
          <a:solidFill>
            <a:srgbClr val="FFC000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Aft>
                <a:spcPts val="1000"/>
              </a:spcAft>
            </a:pPr>
            <a:r>
              <a:rPr lang="uk-UA" altLang="ru-RU" sz="1200" b="1">
                <a:solidFill>
                  <a:srgbClr val="000000"/>
                </a:solidFill>
              </a:rPr>
              <a:t>8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8200" name="Oval 346"/>
          <p:cNvSpPr>
            <a:spLocks noChangeArrowheads="1"/>
          </p:cNvSpPr>
          <p:nvPr/>
        </p:nvSpPr>
        <p:spPr bwMode="auto">
          <a:xfrm>
            <a:off x="5762625" y="3817938"/>
            <a:ext cx="412750" cy="311150"/>
          </a:xfrm>
          <a:prstGeom prst="ellipse">
            <a:avLst/>
          </a:prstGeom>
          <a:solidFill>
            <a:srgbClr val="FFFFFF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Aft>
                <a:spcPts val="1000"/>
              </a:spcAft>
            </a:pPr>
            <a:r>
              <a:rPr lang="en-US" altLang="ru-RU" sz="1200" b="1">
                <a:solidFill>
                  <a:srgbClr val="000000"/>
                </a:solidFill>
              </a:rPr>
              <a:t>3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8201" name="Oval 347"/>
          <p:cNvSpPr>
            <a:spLocks noChangeArrowheads="1"/>
          </p:cNvSpPr>
          <p:nvPr/>
        </p:nvSpPr>
        <p:spPr bwMode="auto">
          <a:xfrm>
            <a:off x="5514975" y="4418013"/>
            <a:ext cx="412750" cy="311150"/>
          </a:xfrm>
          <a:prstGeom prst="ellipse">
            <a:avLst/>
          </a:prstGeom>
          <a:solidFill>
            <a:srgbClr val="FFFFFF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Aft>
                <a:spcPts val="1000"/>
              </a:spcAft>
            </a:pPr>
            <a:r>
              <a:rPr lang="en-US" altLang="ru-RU" sz="1200" b="1">
                <a:solidFill>
                  <a:srgbClr val="000000"/>
                </a:solidFill>
              </a:rPr>
              <a:t>1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8202" name="Oval 348"/>
          <p:cNvSpPr>
            <a:spLocks noChangeArrowheads="1"/>
          </p:cNvSpPr>
          <p:nvPr/>
        </p:nvSpPr>
        <p:spPr bwMode="auto">
          <a:xfrm>
            <a:off x="4667250" y="4699000"/>
            <a:ext cx="412750" cy="311150"/>
          </a:xfrm>
          <a:prstGeom prst="ellipse">
            <a:avLst/>
          </a:prstGeom>
          <a:solidFill>
            <a:srgbClr val="FFC000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Aft>
                <a:spcPts val="1000"/>
              </a:spcAft>
            </a:pPr>
            <a:r>
              <a:rPr lang="uk-UA" altLang="ru-RU" sz="1200" b="1">
                <a:solidFill>
                  <a:srgbClr val="000000"/>
                </a:solidFill>
              </a:rPr>
              <a:t>5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8203" name="Oval 349"/>
          <p:cNvSpPr>
            <a:spLocks noChangeArrowheads="1"/>
          </p:cNvSpPr>
          <p:nvPr/>
        </p:nvSpPr>
        <p:spPr bwMode="auto">
          <a:xfrm>
            <a:off x="5300663" y="5413375"/>
            <a:ext cx="414337" cy="311150"/>
          </a:xfrm>
          <a:prstGeom prst="ellipse">
            <a:avLst/>
          </a:prstGeom>
          <a:solidFill>
            <a:srgbClr val="FFC000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Aft>
                <a:spcPts val="1000"/>
              </a:spcAft>
            </a:pPr>
            <a:r>
              <a:rPr lang="uk-UA" altLang="ru-RU" sz="1200" b="1">
                <a:solidFill>
                  <a:srgbClr val="000000"/>
                </a:solidFill>
                <a:latin typeface="Arial" charset="0"/>
              </a:rPr>
              <a:t>6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8204" name="Oval 350"/>
          <p:cNvSpPr>
            <a:spLocks noChangeArrowheads="1"/>
          </p:cNvSpPr>
          <p:nvPr/>
        </p:nvSpPr>
        <p:spPr bwMode="auto">
          <a:xfrm>
            <a:off x="4787900" y="6297613"/>
            <a:ext cx="412750" cy="311150"/>
          </a:xfrm>
          <a:prstGeom prst="ellipse">
            <a:avLst/>
          </a:prstGeom>
          <a:solidFill>
            <a:srgbClr val="FF0000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Aft>
                <a:spcPts val="1000"/>
              </a:spcAft>
            </a:pPr>
            <a:r>
              <a:rPr lang="uk-UA" altLang="ru-RU" sz="1200" b="1">
                <a:solidFill>
                  <a:srgbClr val="000000"/>
                </a:solidFill>
                <a:latin typeface="Arial" charset="0"/>
              </a:rPr>
              <a:t>9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8205" name="Oval 351"/>
          <p:cNvSpPr>
            <a:spLocks noChangeArrowheads="1"/>
          </p:cNvSpPr>
          <p:nvPr/>
        </p:nvSpPr>
        <p:spPr bwMode="auto">
          <a:xfrm>
            <a:off x="5762625" y="6297613"/>
            <a:ext cx="412750" cy="311150"/>
          </a:xfrm>
          <a:prstGeom prst="ellipse">
            <a:avLst/>
          </a:prstGeom>
          <a:solidFill>
            <a:srgbClr val="00B050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Aft>
                <a:spcPts val="1000"/>
              </a:spcAft>
            </a:pPr>
            <a:r>
              <a:rPr lang="uk-UA" altLang="ru-RU" sz="1200" b="1">
                <a:solidFill>
                  <a:srgbClr val="000000"/>
                </a:solidFill>
              </a:rPr>
              <a:t>4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graphicFrame>
        <p:nvGraphicFramePr>
          <p:cNvPr id="27" name="Таблица 26"/>
          <p:cNvGraphicFramePr>
            <a:graphicFrameLocks noGrp="1"/>
          </p:cNvGraphicFramePr>
          <p:nvPr/>
        </p:nvGraphicFramePr>
        <p:xfrm>
          <a:off x="-23540" y="0"/>
          <a:ext cx="9181200" cy="731520"/>
        </p:xfrm>
        <a:graphic>
          <a:graphicData uri="http://schemas.openxmlformats.org/drawingml/2006/table">
            <a:tbl>
              <a:tblPr/>
              <a:tblGrid>
                <a:gridCol w="9181200"/>
              </a:tblGrid>
              <a:tr h="47873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Комунальна установа «Центр первинної медико-санітарної допомоги №</a:t>
                      </a:r>
                      <a:r>
                        <a:rPr kumimoji="0" lang="en-US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2</a:t>
                      </a:r>
                      <a:r>
                        <a:rPr kumimoji="0" lang="uk-UA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» </a:t>
                      </a:r>
                      <a:r>
                        <a:rPr lang="uk-UA" sz="2400" b="1" dirty="0" smtClean="0">
                          <a:effectLst/>
                          <a:latin typeface="+mn-lt"/>
                          <a:ea typeface="Calibri"/>
                        </a:rPr>
                        <a:t>Населення – 83 630 осіб</a:t>
                      </a:r>
                      <a:endParaRPr kumimoji="0" lang="ru-RU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8488C4">
                            <a:alpha val="89000"/>
                          </a:srgbClr>
                        </a:gs>
                        <a:gs pos="53000">
                          <a:srgbClr val="D4DEFF"/>
                        </a:gs>
                        <a:gs pos="83000">
                          <a:srgbClr val="D4DEFF"/>
                        </a:gs>
                        <a:gs pos="100000">
                          <a:srgbClr val="96AB94"/>
                        </a:gs>
                      </a:gsLst>
                      <a:lin ang="5400000" scaled="0"/>
                    </a:gradFill>
                  </a:tcPr>
                </a:tc>
              </a:tr>
            </a:tbl>
          </a:graphicData>
        </a:graphic>
      </p:graphicFrame>
      <p:graphicFrame>
        <p:nvGraphicFramePr>
          <p:cNvPr id="19" name="Таблица 18"/>
          <p:cNvGraphicFramePr>
            <a:graphicFrameLocks noGrp="1"/>
          </p:cNvGraphicFramePr>
          <p:nvPr/>
        </p:nvGraphicFramePr>
        <p:xfrm>
          <a:off x="134938" y="2609850"/>
          <a:ext cx="2606675" cy="1225550"/>
        </p:xfrm>
        <a:graphic>
          <a:graphicData uri="http://schemas.openxmlformats.org/drawingml/2006/table">
            <a:tbl>
              <a:tblPr firstRow="1" firstCol="1" bandRow="1"/>
              <a:tblGrid>
                <a:gridCol w="1242863"/>
                <a:gridCol w="1363812"/>
              </a:tblGrid>
              <a:tr h="49022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Підрозділи сьогодні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60" marR="68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Населення у майбутньому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60" marR="68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11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. №1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60" marR="68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46739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60" marR="68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11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. №2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60" marR="68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25560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60" marR="68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11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. №3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60" marR="68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11331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60" marR="6856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8224" name="Объект 2"/>
          <p:cNvGraphicFramePr>
            <a:graphicFrameLocks noChangeAspect="1"/>
          </p:cNvGraphicFramePr>
          <p:nvPr/>
        </p:nvGraphicFramePr>
        <p:xfrm>
          <a:off x="3175" y="593725"/>
          <a:ext cx="6053138" cy="23701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0" name="Документ" r:id="rId5" imgW="6090910" imgH="2369387" progId="Word.Document.12">
                  <p:embed/>
                </p:oleObj>
              </mc:Choice>
              <mc:Fallback>
                <p:oleObj name="Документ" r:id="rId5" imgW="6090910" imgH="2369387" progId="Word.Document.12">
                  <p:embed/>
                  <p:pic>
                    <p:nvPicPr>
                      <p:cNvPr id="0" name="Объект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175" y="593725"/>
                        <a:ext cx="6053138" cy="23701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117475" y="3973513"/>
          <a:ext cx="2725738" cy="2698750"/>
        </p:xfrm>
        <a:graphic>
          <a:graphicData uri="http://schemas.openxmlformats.org/drawingml/2006/table">
            <a:tbl>
              <a:tblPr firstRow="1" firstCol="1" bandRow="1"/>
              <a:tblGrid>
                <a:gridCol w="1357863"/>
                <a:gridCol w="1367875"/>
              </a:tblGrid>
              <a:tr h="49068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Підрозділи у майбутньому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66" marR="685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Населення у майбутньому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66" marR="685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34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. №1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66" marR="685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11 тис.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66" marR="685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34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. №2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66" marR="685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10тис.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66" marR="685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34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. №3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66" marR="685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11 тис.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66" marR="685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34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. №4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66" marR="685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11 тис.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66" marR="685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34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. №5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66" marR="685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11 тис.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66" marR="685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34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. №6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66" marR="685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7 тис.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66" marR="685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34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. №7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66" marR="685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6 тис.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66" marR="685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34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. №8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66" marR="685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10тис.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66" marR="685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34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. №9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66" marR="685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5 тис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66" marR="685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Полилиния 18"/>
          <p:cNvSpPr/>
          <p:nvPr/>
        </p:nvSpPr>
        <p:spPr bwMode="auto">
          <a:xfrm>
            <a:off x="5411788" y="1884363"/>
            <a:ext cx="2136775" cy="1011237"/>
          </a:xfrm>
          <a:custGeom>
            <a:avLst/>
            <a:gdLst>
              <a:gd name="connsiteX0" fmla="*/ 608762 w 1602712"/>
              <a:gd name="connsiteY0" fmla="*/ 200966 h 1459523"/>
              <a:gd name="connsiteX1" fmla="*/ 724318 w 1602712"/>
              <a:gd name="connsiteY1" fmla="*/ 45217 h 1459523"/>
              <a:gd name="connsiteX2" fmla="*/ 764512 w 1602712"/>
              <a:gd name="connsiteY2" fmla="*/ 10048 h 1459523"/>
              <a:gd name="connsiteX3" fmla="*/ 799681 w 1602712"/>
              <a:gd name="connsiteY3" fmla="*/ 105507 h 1459523"/>
              <a:gd name="connsiteX4" fmla="*/ 819778 w 1602712"/>
              <a:gd name="connsiteY4" fmla="*/ 236136 h 1459523"/>
              <a:gd name="connsiteX5" fmla="*/ 915237 w 1602712"/>
              <a:gd name="connsiteY5" fmla="*/ 195942 h 1459523"/>
              <a:gd name="connsiteX6" fmla="*/ 970503 w 1602712"/>
              <a:gd name="connsiteY6" fmla="*/ 336619 h 1459523"/>
              <a:gd name="connsiteX7" fmla="*/ 1040841 w 1602712"/>
              <a:gd name="connsiteY7" fmla="*/ 386861 h 1459523"/>
              <a:gd name="connsiteX8" fmla="*/ 1035817 w 1602712"/>
              <a:gd name="connsiteY8" fmla="*/ 427054 h 1459523"/>
              <a:gd name="connsiteX9" fmla="*/ 1151373 w 1602712"/>
              <a:gd name="connsiteY9" fmla="*/ 457199 h 1459523"/>
              <a:gd name="connsiteX10" fmla="*/ 1236784 w 1602712"/>
              <a:gd name="connsiteY10" fmla="*/ 467248 h 1459523"/>
              <a:gd name="connsiteX11" fmla="*/ 1498041 w 1602712"/>
              <a:gd name="connsiteY11" fmla="*/ 648118 h 1459523"/>
              <a:gd name="connsiteX12" fmla="*/ 1563356 w 1602712"/>
              <a:gd name="connsiteY12" fmla="*/ 738553 h 1459523"/>
              <a:gd name="connsiteX13" fmla="*/ 1543259 w 1602712"/>
              <a:gd name="connsiteY13" fmla="*/ 874206 h 1459523"/>
              <a:gd name="connsiteX14" fmla="*/ 1206639 w 1602712"/>
              <a:gd name="connsiteY14" fmla="*/ 1276140 h 1459523"/>
              <a:gd name="connsiteX15" fmla="*/ 880068 w 1602712"/>
              <a:gd name="connsiteY15" fmla="*/ 1436914 h 1459523"/>
              <a:gd name="connsiteX16" fmla="*/ 111369 w 1602712"/>
              <a:gd name="connsiteY16" fmla="*/ 1140487 h 1459523"/>
              <a:gd name="connsiteX17" fmla="*/ 211852 w 1602712"/>
              <a:gd name="connsiteY17" fmla="*/ 864158 h 1459523"/>
              <a:gd name="connsiteX18" fmla="*/ 432916 w 1602712"/>
              <a:gd name="connsiteY18" fmla="*/ 497393 h 1459523"/>
              <a:gd name="connsiteX19" fmla="*/ 608762 w 1602712"/>
              <a:gd name="connsiteY19" fmla="*/ 200966 h 14595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602712" h="1459523">
                <a:moveTo>
                  <a:pt x="608762" y="200966"/>
                </a:moveTo>
                <a:cubicBezTo>
                  <a:pt x="657329" y="125603"/>
                  <a:pt x="698360" y="77037"/>
                  <a:pt x="724318" y="45217"/>
                </a:cubicBezTo>
                <a:cubicBezTo>
                  <a:pt x="750276" y="13397"/>
                  <a:pt x="751951" y="0"/>
                  <a:pt x="764512" y="10048"/>
                </a:cubicBezTo>
                <a:cubicBezTo>
                  <a:pt x="777073" y="20096"/>
                  <a:pt x="790470" y="67826"/>
                  <a:pt x="799681" y="105507"/>
                </a:cubicBezTo>
                <a:cubicBezTo>
                  <a:pt x="808892" y="143188"/>
                  <a:pt x="800519" y="221064"/>
                  <a:pt x="819778" y="236136"/>
                </a:cubicBezTo>
                <a:cubicBezTo>
                  <a:pt x="839037" y="251208"/>
                  <a:pt x="890116" y="179195"/>
                  <a:pt x="915237" y="195942"/>
                </a:cubicBezTo>
                <a:cubicBezTo>
                  <a:pt x="940358" y="212689"/>
                  <a:pt x="949569" y="304799"/>
                  <a:pt x="970503" y="336619"/>
                </a:cubicBezTo>
                <a:cubicBezTo>
                  <a:pt x="991437" y="368439"/>
                  <a:pt x="1029955" y="371789"/>
                  <a:pt x="1040841" y="386861"/>
                </a:cubicBezTo>
                <a:cubicBezTo>
                  <a:pt x="1051727" y="401933"/>
                  <a:pt x="1017395" y="415331"/>
                  <a:pt x="1035817" y="427054"/>
                </a:cubicBezTo>
                <a:cubicBezTo>
                  <a:pt x="1054239" y="438777"/>
                  <a:pt x="1117879" y="450500"/>
                  <a:pt x="1151373" y="457199"/>
                </a:cubicBezTo>
                <a:cubicBezTo>
                  <a:pt x="1184867" y="463898"/>
                  <a:pt x="1179006" y="435428"/>
                  <a:pt x="1236784" y="467248"/>
                </a:cubicBezTo>
                <a:cubicBezTo>
                  <a:pt x="1294562" y="499068"/>
                  <a:pt x="1443612" y="602901"/>
                  <a:pt x="1498041" y="648118"/>
                </a:cubicBezTo>
                <a:cubicBezTo>
                  <a:pt x="1552470" y="693335"/>
                  <a:pt x="1555820" y="700872"/>
                  <a:pt x="1563356" y="738553"/>
                </a:cubicBezTo>
                <a:cubicBezTo>
                  <a:pt x="1570892" y="776234"/>
                  <a:pt x="1602712" y="784608"/>
                  <a:pt x="1543259" y="874206"/>
                </a:cubicBezTo>
                <a:cubicBezTo>
                  <a:pt x="1483806" y="963804"/>
                  <a:pt x="1317171" y="1182355"/>
                  <a:pt x="1206639" y="1276140"/>
                </a:cubicBezTo>
                <a:cubicBezTo>
                  <a:pt x="1096107" y="1369925"/>
                  <a:pt x="1062613" y="1459523"/>
                  <a:pt x="880068" y="1436914"/>
                </a:cubicBezTo>
                <a:cubicBezTo>
                  <a:pt x="697523" y="1414305"/>
                  <a:pt x="222738" y="1235946"/>
                  <a:pt x="111369" y="1140487"/>
                </a:cubicBezTo>
                <a:cubicBezTo>
                  <a:pt x="0" y="1045028"/>
                  <a:pt x="158261" y="971340"/>
                  <a:pt x="211852" y="864158"/>
                </a:cubicBezTo>
                <a:cubicBezTo>
                  <a:pt x="265443" y="756976"/>
                  <a:pt x="366764" y="607925"/>
                  <a:pt x="432916" y="497393"/>
                </a:cubicBezTo>
                <a:cubicBezTo>
                  <a:pt x="499068" y="386861"/>
                  <a:pt x="560195" y="276329"/>
                  <a:pt x="608762" y="200966"/>
                </a:cubicBezTo>
                <a:close/>
              </a:path>
            </a:pathLst>
          </a:custGeom>
          <a:solidFill>
            <a:schemeClr val="accent3">
              <a:lumMod val="75000"/>
              <a:alpha val="33000"/>
            </a:schemeClr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/>
          <a:lstStyle/>
          <a:p>
            <a:pPr algn="ctr">
              <a:defRPr/>
            </a:pPr>
            <a:endParaRPr lang="ru-RU" sz="11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9219" name="Рисунок 6" descr="Описание: D:\work\Центр здоровя\КАРТА  для ЦЗ\ЦПМСД-3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4500" y="487363"/>
            <a:ext cx="6159500" cy="6370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220" name="Oval 89"/>
          <p:cNvSpPr>
            <a:spLocks noChangeArrowheads="1"/>
          </p:cNvSpPr>
          <p:nvPr/>
        </p:nvSpPr>
        <p:spPr bwMode="auto">
          <a:xfrm>
            <a:off x="7667625" y="2987675"/>
            <a:ext cx="412750" cy="309563"/>
          </a:xfrm>
          <a:prstGeom prst="ellipse">
            <a:avLst/>
          </a:prstGeom>
          <a:solidFill>
            <a:srgbClr val="FF0000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uk-UA" altLang="ru-RU" sz="1200" b="1">
                <a:solidFill>
                  <a:srgbClr val="000000"/>
                </a:solidFill>
                <a:latin typeface="Arial" charset="0"/>
              </a:rPr>
              <a:t>8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221" name="Oval 88"/>
          <p:cNvSpPr>
            <a:spLocks noChangeArrowheads="1"/>
          </p:cNvSpPr>
          <p:nvPr/>
        </p:nvSpPr>
        <p:spPr bwMode="auto">
          <a:xfrm>
            <a:off x="7054850" y="3432175"/>
            <a:ext cx="412750" cy="311150"/>
          </a:xfrm>
          <a:prstGeom prst="ellipse">
            <a:avLst/>
          </a:prstGeom>
          <a:solidFill>
            <a:srgbClr val="00B050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uk-UA" altLang="ru-RU" sz="1200" b="1">
                <a:solidFill>
                  <a:srgbClr val="000000"/>
                </a:solidFill>
                <a:latin typeface="Arial" charset="0"/>
              </a:rPr>
              <a:t>6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222" name="Oval 77"/>
          <p:cNvSpPr>
            <a:spLocks noChangeArrowheads="1"/>
          </p:cNvSpPr>
          <p:nvPr/>
        </p:nvSpPr>
        <p:spPr bwMode="auto">
          <a:xfrm>
            <a:off x="4737100" y="4435475"/>
            <a:ext cx="412750" cy="311150"/>
          </a:xfrm>
          <a:prstGeom prst="ellipse">
            <a:avLst/>
          </a:prstGeom>
          <a:solidFill>
            <a:srgbClr val="FFFFFF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uk-UA" altLang="ru-RU" sz="1200" b="1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1</a:t>
            </a:r>
          </a:p>
        </p:txBody>
      </p:sp>
      <p:sp>
        <p:nvSpPr>
          <p:cNvPr id="9223" name="Oval 84"/>
          <p:cNvSpPr>
            <a:spLocks noChangeArrowheads="1"/>
          </p:cNvSpPr>
          <p:nvPr/>
        </p:nvSpPr>
        <p:spPr bwMode="auto">
          <a:xfrm>
            <a:off x="6723063" y="5746750"/>
            <a:ext cx="412750" cy="311150"/>
          </a:xfrm>
          <a:prstGeom prst="ellipse">
            <a:avLst/>
          </a:prstGeom>
          <a:solidFill>
            <a:schemeClr val="bg1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n-US" altLang="ru-RU" sz="1200">
                <a:solidFill>
                  <a:srgbClr val="000000"/>
                </a:solidFill>
                <a:latin typeface="Arial" charset="0"/>
              </a:rPr>
              <a:t>3</a:t>
            </a:r>
            <a:endParaRPr lang="ru-RU" altLang="ru-RU" sz="12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224" name="Oval 87"/>
          <p:cNvSpPr>
            <a:spLocks noChangeArrowheads="1"/>
          </p:cNvSpPr>
          <p:nvPr/>
        </p:nvSpPr>
        <p:spPr bwMode="auto">
          <a:xfrm>
            <a:off x="5780088" y="3352800"/>
            <a:ext cx="411162" cy="311150"/>
          </a:xfrm>
          <a:prstGeom prst="ellipse">
            <a:avLst/>
          </a:prstGeom>
          <a:solidFill>
            <a:srgbClr val="FF0000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uk-UA" altLang="ru-RU" sz="1200" b="1">
                <a:solidFill>
                  <a:srgbClr val="000000"/>
                </a:solidFill>
                <a:latin typeface="Arial" charset="0"/>
              </a:rPr>
              <a:t>9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225" name="Rectangle 103"/>
          <p:cNvSpPr>
            <a:spLocks noChangeArrowheads="1"/>
          </p:cNvSpPr>
          <p:nvPr/>
        </p:nvSpPr>
        <p:spPr bwMode="auto">
          <a:xfrm>
            <a:off x="0" y="-26988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ru-RU" altLang="ru-RU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226" name="Rectangle 116"/>
          <p:cNvSpPr>
            <a:spLocks noChangeArrowheads="1"/>
          </p:cNvSpPr>
          <p:nvPr/>
        </p:nvSpPr>
        <p:spPr bwMode="auto">
          <a:xfrm>
            <a:off x="0" y="131763"/>
            <a:ext cx="18415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9227" name="Rectangle 117"/>
          <p:cNvSpPr>
            <a:spLocks noChangeArrowheads="1"/>
          </p:cNvSpPr>
          <p:nvPr/>
        </p:nvSpPr>
        <p:spPr bwMode="auto">
          <a:xfrm>
            <a:off x="0" y="5057775"/>
            <a:ext cx="1841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ru-RU" altLang="ru-RU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228" name="Oval 118"/>
          <p:cNvSpPr>
            <a:spLocks noChangeArrowheads="1"/>
          </p:cNvSpPr>
          <p:nvPr/>
        </p:nvSpPr>
        <p:spPr bwMode="auto">
          <a:xfrm>
            <a:off x="7705725" y="1622425"/>
            <a:ext cx="412750" cy="309563"/>
          </a:xfrm>
          <a:prstGeom prst="ellipse">
            <a:avLst/>
          </a:prstGeom>
          <a:solidFill>
            <a:srgbClr val="FFC000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Aft>
                <a:spcPts val="1000"/>
              </a:spcAft>
            </a:pPr>
            <a:r>
              <a:rPr lang="uk-UA" altLang="ru-RU" sz="1200" b="1">
                <a:solidFill>
                  <a:srgbClr val="000000"/>
                </a:solidFill>
              </a:rPr>
              <a:t>7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229" name="Oval 119"/>
          <p:cNvSpPr>
            <a:spLocks noChangeArrowheads="1"/>
          </p:cNvSpPr>
          <p:nvPr/>
        </p:nvSpPr>
        <p:spPr bwMode="auto">
          <a:xfrm>
            <a:off x="6927850" y="2235200"/>
            <a:ext cx="414338" cy="311150"/>
          </a:xfrm>
          <a:prstGeom prst="ellipse">
            <a:avLst/>
          </a:prstGeom>
          <a:solidFill>
            <a:srgbClr val="FFFFFF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>
              <a:spcAft>
                <a:spcPts val="1000"/>
              </a:spcAft>
            </a:pPr>
            <a:r>
              <a:rPr lang="uk-UA" altLang="ru-RU" sz="1200" b="1">
                <a:solidFill>
                  <a:srgbClr val="000000"/>
                </a:solidFill>
              </a:rPr>
              <a:t>2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graphicFrame>
        <p:nvGraphicFramePr>
          <p:cNvPr id="20" name="Таблица 19"/>
          <p:cNvGraphicFramePr>
            <a:graphicFrameLocks noGrp="1"/>
          </p:cNvGraphicFramePr>
          <p:nvPr/>
        </p:nvGraphicFramePr>
        <p:xfrm>
          <a:off x="-23540" y="9016"/>
          <a:ext cx="9180480" cy="731520"/>
        </p:xfrm>
        <a:graphic>
          <a:graphicData uri="http://schemas.openxmlformats.org/drawingml/2006/table">
            <a:tbl>
              <a:tblPr/>
              <a:tblGrid>
                <a:gridCol w="9180480"/>
              </a:tblGrid>
              <a:tr h="47873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uk-UA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Комунальна установа «Центр первинної медико-санітарної допомоги №</a:t>
                      </a:r>
                      <a:r>
                        <a:rPr kumimoji="0" lang="en-US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3</a:t>
                      </a:r>
                      <a:r>
                        <a:rPr kumimoji="0" lang="uk-UA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»</a:t>
                      </a:r>
                      <a:r>
                        <a:rPr lang="uk-UA" sz="2400" b="1" dirty="0" smtClean="0">
                          <a:effectLst/>
                          <a:latin typeface="Times New Roman"/>
                          <a:ea typeface="Calibri"/>
                        </a:rPr>
                        <a:t> </a:t>
                      </a:r>
                      <a:r>
                        <a:rPr lang="uk-UA" sz="2400" b="1" dirty="0" smtClean="0">
                          <a:effectLst/>
                          <a:latin typeface="+mn-lt"/>
                          <a:ea typeface="Calibri"/>
                        </a:rPr>
                        <a:t>Населення – 84 984 осіб</a:t>
                      </a:r>
                      <a:endParaRPr kumimoji="0" lang="ru-RU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8488C4">
                            <a:alpha val="89000"/>
                          </a:srgbClr>
                        </a:gs>
                        <a:gs pos="53000">
                          <a:srgbClr val="D4DEFF"/>
                        </a:gs>
                        <a:gs pos="83000">
                          <a:srgbClr val="D4DEFF"/>
                        </a:gs>
                        <a:gs pos="100000">
                          <a:srgbClr val="96AB94"/>
                        </a:gs>
                      </a:gsLst>
                      <a:lin ang="5400000" scaled="0"/>
                    </a:gradFill>
                  </a:tcPr>
                </a:tc>
              </a:tr>
            </a:tbl>
          </a:graphicData>
        </a:graphic>
      </p:graphicFrame>
      <p:sp>
        <p:nvSpPr>
          <p:cNvPr id="9231" name="Oval 88"/>
          <p:cNvSpPr>
            <a:spLocks noChangeArrowheads="1"/>
          </p:cNvSpPr>
          <p:nvPr/>
        </p:nvSpPr>
        <p:spPr bwMode="auto">
          <a:xfrm>
            <a:off x="3181350" y="5272088"/>
            <a:ext cx="412750" cy="311150"/>
          </a:xfrm>
          <a:prstGeom prst="ellipse">
            <a:avLst/>
          </a:prstGeom>
          <a:solidFill>
            <a:srgbClr val="00B050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n-US" altLang="ru-RU" sz="1200" b="1">
                <a:solidFill>
                  <a:srgbClr val="000000"/>
                </a:solidFill>
                <a:latin typeface="Arial" charset="0"/>
              </a:rPr>
              <a:t>4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232" name="Oval 88"/>
          <p:cNvSpPr>
            <a:spLocks noChangeArrowheads="1"/>
          </p:cNvSpPr>
          <p:nvPr/>
        </p:nvSpPr>
        <p:spPr bwMode="auto">
          <a:xfrm>
            <a:off x="3690938" y="5207000"/>
            <a:ext cx="412750" cy="309563"/>
          </a:xfrm>
          <a:prstGeom prst="ellipse">
            <a:avLst/>
          </a:prstGeom>
          <a:solidFill>
            <a:srgbClr val="00B050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n-US" altLang="ru-RU" sz="1200" b="1">
                <a:solidFill>
                  <a:srgbClr val="000000"/>
                </a:solidFill>
                <a:latin typeface="Arial" charset="0"/>
              </a:rPr>
              <a:t>5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9233" name="Oval 88"/>
          <p:cNvSpPr>
            <a:spLocks noChangeArrowheads="1"/>
          </p:cNvSpPr>
          <p:nvPr/>
        </p:nvSpPr>
        <p:spPr bwMode="auto">
          <a:xfrm>
            <a:off x="3348038" y="4902200"/>
            <a:ext cx="412750" cy="311150"/>
          </a:xfrm>
          <a:prstGeom prst="ellipse">
            <a:avLst/>
          </a:prstGeom>
          <a:solidFill>
            <a:srgbClr val="00B050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en-US" altLang="ru-RU" sz="1200" b="1">
                <a:solidFill>
                  <a:srgbClr val="000000"/>
                </a:solidFill>
                <a:latin typeface="Arial" charset="0"/>
              </a:rPr>
              <a:t>1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graphicFrame>
        <p:nvGraphicFramePr>
          <p:cNvPr id="9234" name="Объект 3"/>
          <p:cNvGraphicFramePr>
            <a:graphicFrameLocks noChangeAspect="1"/>
          </p:cNvGraphicFramePr>
          <p:nvPr/>
        </p:nvGraphicFramePr>
        <p:xfrm>
          <a:off x="3175" y="593725"/>
          <a:ext cx="6091238" cy="23701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7" name="Документ" r:id="rId5" imgW="6090910" imgH="2369387" progId="Word.Document.12">
                  <p:embed/>
                </p:oleObj>
              </mc:Choice>
              <mc:Fallback>
                <p:oleObj name="Документ" r:id="rId5" imgW="6090910" imgH="2369387" progId="Word.Document.12">
                  <p:embed/>
                  <p:pic>
                    <p:nvPicPr>
                      <p:cNvPr id="0" name="Объект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175" y="593725"/>
                        <a:ext cx="6091238" cy="23701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Таблица 2"/>
          <p:cNvGraphicFramePr>
            <a:graphicFrameLocks noGrp="1"/>
          </p:cNvGraphicFramePr>
          <p:nvPr/>
        </p:nvGraphicFramePr>
        <p:xfrm>
          <a:off x="127000" y="2590800"/>
          <a:ext cx="2644775" cy="1227138"/>
        </p:xfrm>
        <a:graphic>
          <a:graphicData uri="http://schemas.openxmlformats.org/drawingml/2006/table">
            <a:tbl>
              <a:tblPr firstRow="1" firstCol="1" bandRow="1"/>
              <a:tblGrid>
                <a:gridCol w="1343029"/>
                <a:gridCol w="1301746"/>
              </a:tblGrid>
              <a:tr h="49085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Підрозділи сьогодні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98" marR="6859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Населення сьогодні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98" marR="6859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42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. №</a:t>
                      </a:r>
                      <a:r>
                        <a:rPr lang="en-US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1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98" marR="6859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36429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98" marR="6859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42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. №2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98" marR="6859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44703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98" marR="6859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42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. №3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98" marR="6859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3852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98" marR="6859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122238" y="4011613"/>
          <a:ext cx="2720975" cy="2700337"/>
        </p:xfrm>
        <a:graphic>
          <a:graphicData uri="http://schemas.openxmlformats.org/drawingml/2006/table">
            <a:tbl>
              <a:tblPr firstRow="1" firstCol="1" bandRow="1"/>
              <a:tblGrid>
                <a:gridCol w="1424837"/>
                <a:gridCol w="1296138"/>
              </a:tblGrid>
              <a:tr h="49097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Підрозділи у майбутньому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Населення у майбутньому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48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. №</a:t>
                      </a:r>
                      <a:r>
                        <a:rPr lang="en-US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1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13 тис.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48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. №2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10 тис.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48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. №3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3,8 тис.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48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. №4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12 тис.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48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. №5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11 тис.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48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. №6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12 тис.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48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. №7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9 тис.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48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. №8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8 тис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48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. №9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6 тис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Полилиния 28"/>
          <p:cNvSpPr>
            <a:spLocks noChangeArrowheads="1"/>
          </p:cNvSpPr>
          <p:nvPr/>
        </p:nvSpPr>
        <p:spPr bwMode="auto">
          <a:xfrm>
            <a:off x="5132388" y="2497138"/>
            <a:ext cx="1352550" cy="633412"/>
          </a:xfrm>
          <a:custGeom>
            <a:avLst/>
            <a:gdLst>
              <a:gd name="T0" fmla="*/ 489422 w 1014201"/>
              <a:gd name="T1" fmla="*/ 74753 h 915749"/>
              <a:gd name="T2" fmla="*/ 672957 w 1014201"/>
              <a:gd name="T3" fmla="*/ 13082 h 915749"/>
              <a:gd name="T4" fmla="*/ 856493 w 1014201"/>
              <a:gd name="T5" fmla="*/ 24295 h 915749"/>
              <a:gd name="T6" fmla="*/ 1277539 w 1014201"/>
              <a:gd name="T7" fmla="*/ 158853 h 915749"/>
              <a:gd name="T8" fmla="*/ 1309927 w 1014201"/>
              <a:gd name="T9" fmla="*/ 220524 h 915749"/>
              <a:gd name="T10" fmla="*/ 1255948 w 1014201"/>
              <a:gd name="T11" fmla="*/ 287803 h 915749"/>
              <a:gd name="T12" fmla="*/ 1288336 w 1014201"/>
              <a:gd name="T13" fmla="*/ 427967 h 915749"/>
              <a:gd name="T14" fmla="*/ 1029230 w 1014201"/>
              <a:gd name="T15" fmla="*/ 461608 h 915749"/>
              <a:gd name="T16" fmla="*/ 770121 w 1014201"/>
              <a:gd name="T17" fmla="*/ 607379 h 915749"/>
              <a:gd name="T18" fmla="*/ 143946 w 1014201"/>
              <a:gd name="T19" fmla="*/ 624198 h 915749"/>
              <a:gd name="T20" fmla="*/ 3599 w 1014201"/>
              <a:gd name="T21" fmla="*/ 551313 h 915749"/>
              <a:gd name="T22" fmla="*/ 165540 w 1014201"/>
              <a:gd name="T23" fmla="*/ 439181 h 915749"/>
              <a:gd name="T24" fmla="*/ 111558 w 1014201"/>
              <a:gd name="T25" fmla="*/ 338262 h 915749"/>
              <a:gd name="T26" fmla="*/ 208726 w 1014201"/>
              <a:gd name="T27" fmla="*/ 299017 h 915749"/>
              <a:gd name="T28" fmla="*/ 349073 w 1014201"/>
              <a:gd name="T29" fmla="*/ 265377 h 915749"/>
              <a:gd name="T30" fmla="*/ 500219 w 1014201"/>
              <a:gd name="T31" fmla="*/ 114000 h 915749"/>
              <a:gd name="T32" fmla="*/ 489422 w 1014201"/>
              <a:gd name="T33" fmla="*/ 74753 h 91574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014201"/>
              <a:gd name="T52" fmla="*/ 0 h 915749"/>
              <a:gd name="T53" fmla="*/ 1014201 w 1014201"/>
              <a:gd name="T54" fmla="*/ 915749 h 915749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014201" h="915749">
                <a:moveTo>
                  <a:pt x="366838" y="107893"/>
                </a:moveTo>
                <a:cubicBezTo>
                  <a:pt x="388417" y="83617"/>
                  <a:pt x="458548" y="31019"/>
                  <a:pt x="504403" y="18881"/>
                </a:cubicBezTo>
                <a:cubicBezTo>
                  <a:pt x="550258" y="6743"/>
                  <a:pt x="566442" y="0"/>
                  <a:pt x="641968" y="35065"/>
                </a:cubicBezTo>
                <a:cubicBezTo>
                  <a:pt x="717494" y="70130"/>
                  <a:pt x="900913" y="182071"/>
                  <a:pt x="957557" y="229274"/>
                </a:cubicBezTo>
                <a:cubicBezTo>
                  <a:pt x="1014201" y="276477"/>
                  <a:pt x="984530" y="287267"/>
                  <a:pt x="981833" y="318286"/>
                </a:cubicBezTo>
                <a:cubicBezTo>
                  <a:pt x="979136" y="349306"/>
                  <a:pt x="944070" y="365490"/>
                  <a:pt x="941373" y="415391"/>
                </a:cubicBezTo>
                <a:cubicBezTo>
                  <a:pt x="938676" y="465292"/>
                  <a:pt x="993971" y="575882"/>
                  <a:pt x="965649" y="617691"/>
                </a:cubicBezTo>
                <a:cubicBezTo>
                  <a:pt x="937327" y="659500"/>
                  <a:pt x="836176" y="623086"/>
                  <a:pt x="771440" y="666244"/>
                </a:cubicBezTo>
                <a:cubicBezTo>
                  <a:pt x="706704" y="709402"/>
                  <a:pt x="687822" y="837526"/>
                  <a:pt x="577231" y="876637"/>
                </a:cubicBezTo>
                <a:cubicBezTo>
                  <a:pt x="466640" y="915749"/>
                  <a:pt x="203649" y="914400"/>
                  <a:pt x="107893" y="900913"/>
                </a:cubicBezTo>
                <a:cubicBezTo>
                  <a:pt x="12137" y="887426"/>
                  <a:pt x="0" y="840222"/>
                  <a:pt x="2697" y="795716"/>
                </a:cubicBezTo>
                <a:cubicBezTo>
                  <a:pt x="5394" y="751210"/>
                  <a:pt x="110590" y="685125"/>
                  <a:pt x="124077" y="633876"/>
                </a:cubicBezTo>
                <a:cubicBezTo>
                  <a:pt x="137564" y="582627"/>
                  <a:pt x="78222" y="521936"/>
                  <a:pt x="83617" y="488219"/>
                </a:cubicBezTo>
                <a:cubicBezTo>
                  <a:pt x="89012" y="454502"/>
                  <a:pt x="126775" y="449108"/>
                  <a:pt x="156446" y="431575"/>
                </a:cubicBezTo>
                <a:cubicBezTo>
                  <a:pt x="186117" y="414042"/>
                  <a:pt x="225228" y="427528"/>
                  <a:pt x="261642" y="383022"/>
                </a:cubicBezTo>
                <a:cubicBezTo>
                  <a:pt x="298056" y="338516"/>
                  <a:pt x="357397" y="210392"/>
                  <a:pt x="374930" y="164537"/>
                </a:cubicBezTo>
                <a:cubicBezTo>
                  <a:pt x="392463" y="118682"/>
                  <a:pt x="345259" y="132169"/>
                  <a:pt x="366838" y="107893"/>
                </a:cubicBezTo>
                <a:close/>
              </a:path>
            </a:pathLst>
          </a:custGeom>
          <a:solidFill>
            <a:srgbClr val="FFC000">
              <a:alpha val="30196"/>
            </a:srgbClr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/>
          <a:lstStyle/>
          <a:p>
            <a:endParaRPr lang="ru-RU"/>
          </a:p>
        </p:txBody>
      </p:sp>
      <p:pic>
        <p:nvPicPr>
          <p:cNvPr id="10243" name="Рисунок 13" descr="Описание: D:\work\Центр здоровя\КАРТА  для ЦЗ\ЦПМСД-4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3213" y="511175"/>
            <a:ext cx="6300787" cy="6346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44" name="Oval 2"/>
          <p:cNvSpPr>
            <a:spLocks noChangeArrowheads="1"/>
          </p:cNvSpPr>
          <p:nvPr/>
        </p:nvSpPr>
        <p:spPr bwMode="auto">
          <a:xfrm>
            <a:off x="6889750" y="4968875"/>
            <a:ext cx="412750" cy="311150"/>
          </a:xfrm>
          <a:prstGeom prst="ellipse">
            <a:avLst/>
          </a:prstGeom>
          <a:solidFill>
            <a:srgbClr val="FFFFFF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uk-UA" altLang="ru-RU" sz="1200" b="1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8</a:t>
            </a:r>
          </a:p>
        </p:txBody>
      </p:sp>
      <p:sp>
        <p:nvSpPr>
          <p:cNvPr id="10245" name="Oval 3"/>
          <p:cNvSpPr>
            <a:spLocks noChangeArrowheads="1"/>
          </p:cNvSpPr>
          <p:nvPr/>
        </p:nvSpPr>
        <p:spPr bwMode="auto">
          <a:xfrm>
            <a:off x="6889750" y="3852863"/>
            <a:ext cx="412750" cy="311150"/>
          </a:xfrm>
          <a:prstGeom prst="ellipse">
            <a:avLst/>
          </a:prstGeom>
          <a:solidFill>
            <a:srgbClr val="FFFFFF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uk-UA" altLang="ru-RU" sz="1200" b="1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2</a:t>
            </a:r>
          </a:p>
        </p:txBody>
      </p:sp>
      <p:sp>
        <p:nvSpPr>
          <p:cNvPr id="10246" name="Oval 4"/>
          <p:cNvSpPr>
            <a:spLocks noChangeArrowheads="1"/>
          </p:cNvSpPr>
          <p:nvPr/>
        </p:nvSpPr>
        <p:spPr bwMode="auto">
          <a:xfrm>
            <a:off x="8035925" y="4164013"/>
            <a:ext cx="412750" cy="311150"/>
          </a:xfrm>
          <a:prstGeom prst="ellipse">
            <a:avLst/>
          </a:prstGeom>
          <a:solidFill>
            <a:srgbClr val="FFFFFF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uk-UA" altLang="ru-RU" sz="1200" b="1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7</a:t>
            </a:r>
          </a:p>
        </p:txBody>
      </p:sp>
      <p:sp>
        <p:nvSpPr>
          <p:cNvPr id="10247" name="Oval 21"/>
          <p:cNvSpPr>
            <a:spLocks noChangeArrowheads="1"/>
          </p:cNvSpPr>
          <p:nvPr/>
        </p:nvSpPr>
        <p:spPr bwMode="auto">
          <a:xfrm>
            <a:off x="7380288" y="4206875"/>
            <a:ext cx="412750" cy="311150"/>
          </a:xfrm>
          <a:prstGeom prst="ellipse">
            <a:avLst/>
          </a:prstGeom>
          <a:solidFill>
            <a:schemeClr val="bg1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uk-UA" altLang="ru-RU" sz="1200" b="1">
                <a:solidFill>
                  <a:srgbClr val="000000"/>
                </a:solidFill>
                <a:latin typeface="Arial" charset="0"/>
              </a:rPr>
              <a:t>11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248" name="Oval 20"/>
          <p:cNvSpPr>
            <a:spLocks noChangeArrowheads="1"/>
          </p:cNvSpPr>
          <p:nvPr/>
        </p:nvSpPr>
        <p:spPr bwMode="auto">
          <a:xfrm>
            <a:off x="8101013" y="3571875"/>
            <a:ext cx="412750" cy="311150"/>
          </a:xfrm>
          <a:prstGeom prst="ellipse">
            <a:avLst/>
          </a:prstGeom>
          <a:solidFill>
            <a:schemeClr val="bg1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uk-UA" altLang="ru-RU" sz="1200" b="1">
                <a:solidFill>
                  <a:srgbClr val="000000"/>
                </a:solidFill>
                <a:latin typeface="Arial" charset="0"/>
              </a:rPr>
              <a:t>12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249" name="Oval 5"/>
          <p:cNvSpPr>
            <a:spLocks noChangeArrowheads="1"/>
          </p:cNvSpPr>
          <p:nvPr/>
        </p:nvSpPr>
        <p:spPr bwMode="auto">
          <a:xfrm>
            <a:off x="7321550" y="3324225"/>
            <a:ext cx="412750" cy="311150"/>
          </a:xfrm>
          <a:prstGeom prst="ellipse">
            <a:avLst/>
          </a:prstGeom>
          <a:solidFill>
            <a:srgbClr val="FFC000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uk-UA" altLang="ru-RU" sz="1200" b="1">
                <a:solidFill>
                  <a:srgbClr val="000000"/>
                </a:solidFill>
                <a:latin typeface="Arial" charset="0"/>
              </a:rPr>
              <a:t>2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250" name="Oval 23"/>
          <p:cNvSpPr>
            <a:spLocks noChangeArrowheads="1"/>
          </p:cNvSpPr>
          <p:nvPr/>
        </p:nvSpPr>
        <p:spPr bwMode="auto">
          <a:xfrm>
            <a:off x="8016875" y="2587625"/>
            <a:ext cx="412750" cy="311150"/>
          </a:xfrm>
          <a:prstGeom prst="ellipse">
            <a:avLst/>
          </a:prstGeom>
          <a:solidFill>
            <a:schemeClr val="bg1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uk-UA" altLang="ru-RU" sz="1200" b="1">
                <a:solidFill>
                  <a:srgbClr val="000000"/>
                </a:solidFill>
                <a:latin typeface="Arial" charset="0"/>
              </a:rPr>
              <a:t>10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251" name="Oval 29"/>
          <p:cNvSpPr>
            <a:spLocks noChangeArrowheads="1"/>
          </p:cNvSpPr>
          <p:nvPr/>
        </p:nvSpPr>
        <p:spPr bwMode="auto">
          <a:xfrm>
            <a:off x="5086350" y="4362450"/>
            <a:ext cx="412750" cy="311150"/>
          </a:xfrm>
          <a:prstGeom prst="ellipse">
            <a:avLst/>
          </a:prstGeom>
          <a:solidFill>
            <a:srgbClr val="FFFFFF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uk-UA" altLang="ru-RU" sz="1200" b="1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4</a:t>
            </a:r>
          </a:p>
        </p:txBody>
      </p:sp>
      <p:sp>
        <p:nvSpPr>
          <p:cNvPr id="10252" name="Oval 34"/>
          <p:cNvSpPr>
            <a:spLocks noChangeArrowheads="1"/>
          </p:cNvSpPr>
          <p:nvPr/>
        </p:nvSpPr>
        <p:spPr bwMode="auto">
          <a:xfrm>
            <a:off x="5292725" y="2536825"/>
            <a:ext cx="412750" cy="309563"/>
          </a:xfrm>
          <a:prstGeom prst="ellipse">
            <a:avLst/>
          </a:prstGeom>
          <a:solidFill>
            <a:srgbClr val="FFFFFF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uk-UA" altLang="ru-RU" sz="1200" b="1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3</a:t>
            </a:r>
          </a:p>
        </p:txBody>
      </p:sp>
      <p:sp>
        <p:nvSpPr>
          <p:cNvPr id="10253" name="Oval 12"/>
          <p:cNvSpPr>
            <a:spLocks noChangeArrowheads="1"/>
          </p:cNvSpPr>
          <p:nvPr/>
        </p:nvSpPr>
        <p:spPr bwMode="auto">
          <a:xfrm>
            <a:off x="4467225" y="4319588"/>
            <a:ext cx="412750" cy="311150"/>
          </a:xfrm>
          <a:prstGeom prst="ellipse">
            <a:avLst/>
          </a:prstGeom>
          <a:solidFill>
            <a:srgbClr val="FFFFFF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uk-UA" altLang="ru-RU" sz="1200" b="1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5</a:t>
            </a:r>
          </a:p>
        </p:txBody>
      </p:sp>
      <p:sp>
        <p:nvSpPr>
          <p:cNvPr id="10254" name="Oval 11"/>
          <p:cNvSpPr>
            <a:spLocks noChangeArrowheads="1"/>
          </p:cNvSpPr>
          <p:nvPr/>
        </p:nvSpPr>
        <p:spPr bwMode="auto">
          <a:xfrm>
            <a:off x="4079875" y="4727575"/>
            <a:ext cx="412750" cy="311150"/>
          </a:xfrm>
          <a:prstGeom prst="ellipse">
            <a:avLst/>
          </a:prstGeom>
          <a:solidFill>
            <a:srgbClr val="FFFFFF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uk-UA" altLang="ru-RU" sz="1200" b="1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1</a:t>
            </a:r>
          </a:p>
        </p:txBody>
      </p:sp>
      <p:sp>
        <p:nvSpPr>
          <p:cNvPr id="10255" name="Oval 13"/>
          <p:cNvSpPr>
            <a:spLocks noChangeArrowheads="1"/>
          </p:cNvSpPr>
          <p:nvPr/>
        </p:nvSpPr>
        <p:spPr bwMode="auto">
          <a:xfrm>
            <a:off x="4879975" y="4968875"/>
            <a:ext cx="412750" cy="311150"/>
          </a:xfrm>
          <a:prstGeom prst="ellipse">
            <a:avLst/>
          </a:prstGeom>
          <a:solidFill>
            <a:srgbClr val="FFFFFF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uk-UA" altLang="ru-RU" sz="1200" b="1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>6</a:t>
            </a:r>
          </a:p>
        </p:txBody>
      </p:sp>
      <p:sp>
        <p:nvSpPr>
          <p:cNvPr id="10256" name="Oval 25"/>
          <p:cNvSpPr>
            <a:spLocks noChangeArrowheads="1"/>
          </p:cNvSpPr>
          <p:nvPr/>
        </p:nvSpPr>
        <p:spPr bwMode="auto">
          <a:xfrm>
            <a:off x="4008438" y="3508375"/>
            <a:ext cx="412750" cy="311150"/>
          </a:xfrm>
          <a:prstGeom prst="ellipse">
            <a:avLst/>
          </a:prstGeom>
          <a:solidFill>
            <a:srgbClr val="00B050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uk-UA" altLang="ru-RU" sz="1200" b="1">
                <a:solidFill>
                  <a:srgbClr val="000000"/>
                </a:solidFill>
                <a:latin typeface="Arial" charset="0"/>
              </a:rPr>
              <a:t>14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257" name="Oval 27"/>
          <p:cNvSpPr>
            <a:spLocks noChangeArrowheads="1"/>
          </p:cNvSpPr>
          <p:nvPr/>
        </p:nvSpPr>
        <p:spPr bwMode="auto">
          <a:xfrm>
            <a:off x="6011863" y="2973388"/>
            <a:ext cx="412750" cy="311150"/>
          </a:xfrm>
          <a:prstGeom prst="ellipse">
            <a:avLst/>
          </a:prstGeom>
          <a:solidFill>
            <a:srgbClr val="00B050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lIns="0" tIns="3600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/>
            <a:r>
              <a:rPr lang="uk-UA" altLang="ru-RU" sz="1200" b="1">
                <a:solidFill>
                  <a:srgbClr val="000000"/>
                </a:solidFill>
                <a:latin typeface="Arial" charset="0"/>
              </a:rPr>
              <a:t>13</a:t>
            </a:r>
            <a:endParaRPr lang="ru-RU" altLang="ru-RU" sz="1200" b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258" name="Rectangle 36"/>
          <p:cNvSpPr>
            <a:spLocks noChangeArrowheads="1"/>
          </p:cNvSpPr>
          <p:nvPr/>
        </p:nvSpPr>
        <p:spPr bwMode="auto">
          <a:xfrm>
            <a:off x="0" y="-441325"/>
            <a:ext cx="922338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457056" tIns="457056" rIns="457056" bIns="457056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10259" name="Rectangle 57"/>
          <p:cNvSpPr>
            <a:spLocks noChangeArrowheads="1"/>
          </p:cNvSpPr>
          <p:nvPr/>
        </p:nvSpPr>
        <p:spPr bwMode="auto">
          <a:xfrm>
            <a:off x="0" y="131763"/>
            <a:ext cx="18415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10260" name="Rectangle 58"/>
          <p:cNvSpPr>
            <a:spLocks noChangeArrowheads="1"/>
          </p:cNvSpPr>
          <p:nvPr/>
        </p:nvSpPr>
        <p:spPr bwMode="auto">
          <a:xfrm>
            <a:off x="0" y="4727575"/>
            <a:ext cx="184150" cy="739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uk-UA" altLang="ru-RU" sz="1200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  <a:p>
            <a:pPr eaLnBrk="0" hangingPunct="0"/>
            <a:r>
              <a:rPr lang="uk-UA" altLang="ru-RU" sz="120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  <a:t/>
            </a:r>
            <a:br>
              <a:rPr lang="uk-UA" altLang="ru-RU" sz="1200">
                <a:solidFill>
                  <a:srgbClr val="000000"/>
                </a:solidFill>
                <a:latin typeface="Arial" charset="0"/>
                <a:cs typeface="Times New Roman" pitchFamily="18" charset="0"/>
              </a:rPr>
            </a:br>
            <a:endParaRPr lang="uk-UA" altLang="ru-RU">
              <a:solidFill>
                <a:srgbClr val="000000"/>
              </a:solidFill>
              <a:latin typeface="Arial" charset="0"/>
              <a:cs typeface="Times New Roman" pitchFamily="18" charset="0"/>
            </a:endParaRPr>
          </a:p>
        </p:txBody>
      </p:sp>
      <p:graphicFrame>
        <p:nvGraphicFramePr>
          <p:cNvPr id="28" name="Таблица 27"/>
          <p:cNvGraphicFramePr>
            <a:graphicFrameLocks noGrp="1"/>
          </p:cNvGraphicFramePr>
          <p:nvPr/>
        </p:nvGraphicFramePr>
        <p:xfrm>
          <a:off x="-23540" y="9016"/>
          <a:ext cx="9180544" cy="841248"/>
        </p:xfrm>
        <a:graphic>
          <a:graphicData uri="http://schemas.openxmlformats.org/drawingml/2006/table">
            <a:tbl>
              <a:tblPr/>
              <a:tblGrid>
                <a:gridCol w="9180544"/>
              </a:tblGrid>
              <a:tr h="47873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kumimoji="0" lang="uk-UA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Комунальна установа «Центр первинної медико-санітарної допомоги №</a:t>
                      </a:r>
                      <a:r>
                        <a:rPr kumimoji="0" lang="en-US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4</a:t>
                      </a:r>
                      <a:r>
                        <a:rPr kumimoji="0" lang="uk-UA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»</a:t>
                      </a:r>
                      <a:r>
                        <a:rPr lang="uk-UA" sz="2400" b="1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 Населення – 149 887 осіб</a:t>
                      </a:r>
                      <a:endParaRPr lang="ru-RU" sz="1200" dirty="0" smtClean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>
                      <a:gsLst>
                        <a:gs pos="0">
                          <a:srgbClr val="8488C4">
                            <a:alpha val="89000"/>
                          </a:srgbClr>
                        </a:gs>
                        <a:gs pos="53000">
                          <a:srgbClr val="D4DEFF"/>
                        </a:gs>
                        <a:gs pos="83000">
                          <a:srgbClr val="D4DEFF"/>
                        </a:gs>
                        <a:gs pos="100000">
                          <a:srgbClr val="96AB94"/>
                        </a:gs>
                      </a:gsLst>
                      <a:lin ang="5400000" scaled="0"/>
                    </a:gradFill>
                  </a:tcPr>
                </a:tc>
              </a:tr>
            </a:tbl>
          </a:graphicData>
        </a:graphic>
      </p:graphicFrame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184150" y="2898775"/>
          <a:ext cx="2516188" cy="3435350"/>
        </p:xfrm>
        <a:graphic>
          <a:graphicData uri="http://schemas.openxmlformats.org/drawingml/2006/table">
            <a:tbl>
              <a:tblPr firstRow="1" firstCol="1" bandRow="1"/>
              <a:tblGrid>
                <a:gridCol w="1219462"/>
                <a:gridCol w="1296726"/>
              </a:tblGrid>
              <a:tr h="49076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Підрозділи сьогодні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611" marR="6861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Населення сьогодні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611" marR="6861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38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. №1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611" marR="6861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36686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611" marR="6861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38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. №2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611" marR="6861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12170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611" marR="6861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38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. №3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611" marR="6861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41916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611" marR="6861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38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. №4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611" marR="6861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6385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611" marR="6861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38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. №5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611" marR="6861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4536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611" marR="6861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38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. №6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611" marR="6861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10449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611" marR="6861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38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. №7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611" marR="6861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6206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611" marR="6861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38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. №8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611" marR="6861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5704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611" marR="6861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38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. № 9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611" marR="6861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11920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611" marR="6861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38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. № 10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611" marR="6861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4755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611" marR="6861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38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. №11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611" marR="6861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4551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611" marR="6861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24538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>
                          <a:effectLst/>
                          <a:latin typeface="Calibri"/>
                          <a:ea typeface="Calibri"/>
                          <a:cs typeface="Times New Roman"/>
                        </a:rPr>
                        <a:t>Амб. № 12</a:t>
                      </a:r>
                      <a:endParaRPr lang="ru-RU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611" marR="6861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uk-UA" sz="1400" b="1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4609</a:t>
                      </a: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611" marR="6861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0306" name="Объект 1"/>
          <p:cNvGraphicFramePr>
            <a:graphicFrameLocks noChangeAspect="1"/>
          </p:cNvGraphicFramePr>
          <p:nvPr/>
        </p:nvGraphicFramePr>
        <p:xfrm>
          <a:off x="92075" y="928688"/>
          <a:ext cx="6091238" cy="18843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7" name="Документ" r:id="rId5" imgW="6090910" imgH="1884862" progId="Word.Document.12">
                  <p:embed/>
                </p:oleObj>
              </mc:Choice>
              <mc:Fallback>
                <p:oleObj name="Документ" r:id="rId5" imgW="6090910" imgH="1884862" progId="Word.Document.12">
                  <p:embed/>
                  <p:pic>
                    <p:nvPicPr>
                      <p:cNvPr id="0" name="Объект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2075" y="928688"/>
                        <a:ext cx="6091238" cy="18843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yL.pJNOSEWgB4gIeI.nm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faRvDuiEaFfRDa4KjnB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SX5qEG_UaLQQSCKz7RA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faRvDuiEaFfRDa4KjnB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yL.pJNOSEWgB4gIeI.nm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faRvDuiEaFfRDa4KjnB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faRvDuiEaFfRDa4KjnB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SX5qEG_UaLQQSCKz7RA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faRvDuiEaFfRDa4KjnB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yL.pJNOSEWgB4gIeI.nm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faRvDuiEaFfRDa4KjnB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SX5qEG_UaLQQSCKz7RA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faRvDuiEaFfRDa4KjnB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yL.pJNOSEWgB4gIeI.nm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faRvDuiEaFfRDa4Kjn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SX5qEG_UaLQQSCKz7RA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SX5qEG_UaLQQSCKz7RA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faRvDuiEaFfRDa4KjnB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yL.pJNOSEWgB4gIeI.nm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faRvDuiEaFfRDa4KjnB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SX5qEG_UaLQQSCKz7RA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faRvDuiEaFfRDa4KjnB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yL.pJNOSEWgB4gIeI.nm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faRvDuiEaFfRDa4KjnB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SX5qEG_UaLQQSCKz7RA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faRvDuiEaFfRDa4KjnB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faRvDuiEaFfRDa4KjnB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yL.pJNOSEWgB4gIeI.nm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faRvDuiEaFfRDa4KjnB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SX5qEG_UaLQQSCKz7RA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faRvDuiEaFfRDa4KjnB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yL.pJNOSEWgB4gIeI.nm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faRvDuiEaFfRDa4KjnB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SX5qEG_UaLQQSCKz7RA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yL.pJNOSEWgB4gIeI.nm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faRvDuiEaFfRDa4KjnB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yL.pJNOSEWgB4gIeI.nm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faRvDuiEaFfRDa4KjnB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SX5qEG_UaLQQSCKz7RA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faRvDuiEaFfRDa4KjnB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yL.pJNOSEWgB4gIeI.nm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faRvDuiEaFfRDa4KjnB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SX5qEG_UaLQQSCKz7RA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faRvDuiEaFfRDa4KjnB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faRvDuiEaFfRDa4KjnB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yL.pJNOSEWgB4gIeI.nm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faRvDuiEaFfRDa4KjnB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SX5qEG_UaLQQSCKz7RA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faRvDuiEaFfRDa4KjnB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yL.pJNOSEWgB4gIeI.nm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faRvDuiEaFfRDa4KjnB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SX5qEG_UaLQQSCKz7RA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faRvDuiEaFfRDa4KjnB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yL.pJNOSEWgB4gIeI.nm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faRvDuiEaFfRDa4KjnB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SX5qEG_UaLQQSCKz7RA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faRvDuiEaFfRDa4KjnB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yL.pJNOSEWgB4gIeI.nm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faRvDuiEaFfRDa4Kjn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SX5qEG_UaLQQSCKz7RA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faRvDuiEaFfRDa4KjnB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963</TotalTime>
  <Words>1636</Words>
  <Application>Microsoft Office PowerPoint</Application>
  <PresentationFormat>Экран (4:3)</PresentationFormat>
  <Paragraphs>363</Paragraphs>
  <Slides>26</Slides>
  <Notes>18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26</vt:i4>
      </vt:variant>
    </vt:vector>
  </HeadingPairs>
  <TitlesOfParts>
    <vt:vector size="34" baseType="lpstr">
      <vt:lpstr>Calibri</vt:lpstr>
      <vt:lpstr>Arial</vt:lpstr>
      <vt:lpstr>Tahoma</vt:lpstr>
      <vt:lpstr>Times New Roman</vt:lpstr>
      <vt:lpstr>Wingdings</vt:lpstr>
      <vt:lpstr>Тема Office</vt:lpstr>
      <vt:lpstr>think-cell Slide</vt:lpstr>
      <vt:lpstr>Документ</vt:lpstr>
      <vt:lpstr>Презентация PowerPoint</vt:lpstr>
      <vt:lpstr>Презентация PowerPoint</vt:lpstr>
      <vt:lpstr>Розташування Центрів первинної  медико-санітарної допомоги 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тратегія роботи  Інституту міста</dc:title>
  <dc:creator>USER17</dc:creator>
  <cp:lastModifiedBy>health535</cp:lastModifiedBy>
  <cp:revision>714</cp:revision>
  <cp:lastPrinted>2015-09-07T20:15:06Z</cp:lastPrinted>
  <dcterms:created xsi:type="dcterms:W3CDTF">2012-10-14T17:00:20Z</dcterms:created>
  <dcterms:modified xsi:type="dcterms:W3CDTF">2016-12-13T11:55:24Z</dcterms:modified>
</cp:coreProperties>
</file>